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comments/modernComment_4F4_1F7A101A.xml" ContentType="application/vnd.ms-powerpoint.comments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comments/modernComment_4FB_289D6CA9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0"/>
  </p:notesMasterIdLst>
  <p:sldIdLst>
    <p:sldId id="257" r:id="rId2"/>
    <p:sldId id="1238" r:id="rId3"/>
    <p:sldId id="1240" r:id="rId4"/>
    <p:sldId id="1289" r:id="rId5"/>
    <p:sldId id="1331" r:id="rId6"/>
    <p:sldId id="1246" r:id="rId7"/>
    <p:sldId id="1290" r:id="rId8"/>
    <p:sldId id="1212" r:id="rId9"/>
    <p:sldId id="281" r:id="rId10"/>
    <p:sldId id="1333" r:id="rId11"/>
    <p:sldId id="1334" r:id="rId12"/>
    <p:sldId id="1335" r:id="rId13"/>
    <p:sldId id="1336" r:id="rId14"/>
    <p:sldId id="1337" r:id="rId15"/>
    <p:sldId id="1248" r:id="rId16"/>
    <p:sldId id="1277" r:id="rId17"/>
    <p:sldId id="1278" r:id="rId18"/>
    <p:sldId id="1292" r:id="rId19"/>
    <p:sldId id="1293" r:id="rId20"/>
    <p:sldId id="1294" r:id="rId21"/>
    <p:sldId id="1295" r:id="rId22"/>
    <p:sldId id="1251" r:id="rId23"/>
    <p:sldId id="1252" r:id="rId24"/>
    <p:sldId id="1288" r:id="rId25"/>
    <p:sldId id="1287" r:id="rId26"/>
    <p:sldId id="1338" r:id="rId27"/>
    <p:sldId id="1339" r:id="rId28"/>
    <p:sldId id="1340" r:id="rId29"/>
    <p:sldId id="1341" r:id="rId30"/>
    <p:sldId id="1342" r:id="rId31"/>
    <p:sldId id="1343" r:id="rId32"/>
    <p:sldId id="1279" r:id="rId33"/>
    <p:sldId id="1281" r:id="rId34"/>
    <p:sldId id="1282" r:id="rId35"/>
    <p:sldId id="1300" r:id="rId36"/>
    <p:sldId id="1301" r:id="rId37"/>
    <p:sldId id="1298" r:id="rId38"/>
    <p:sldId id="1299" r:id="rId39"/>
    <p:sldId id="1255" r:id="rId40"/>
    <p:sldId id="1344" r:id="rId41"/>
    <p:sldId id="1345" r:id="rId42"/>
    <p:sldId id="1346" r:id="rId43"/>
    <p:sldId id="1347" r:id="rId44"/>
    <p:sldId id="1348" r:id="rId45"/>
    <p:sldId id="1349" r:id="rId46"/>
    <p:sldId id="1258" r:id="rId47"/>
    <p:sldId id="1283" r:id="rId48"/>
    <p:sldId id="1284" r:id="rId49"/>
    <p:sldId id="1302" r:id="rId50"/>
    <p:sldId id="1303" r:id="rId51"/>
    <p:sldId id="1304" r:id="rId52"/>
    <p:sldId id="1305" r:id="rId53"/>
    <p:sldId id="1259" r:id="rId54"/>
    <p:sldId id="1306" r:id="rId55"/>
    <p:sldId id="1308" r:id="rId56"/>
    <p:sldId id="1350" r:id="rId57"/>
    <p:sldId id="1351" r:id="rId58"/>
    <p:sldId id="1352" r:id="rId59"/>
    <p:sldId id="1353" r:id="rId60"/>
    <p:sldId id="1354" r:id="rId61"/>
    <p:sldId id="1355" r:id="rId62"/>
    <p:sldId id="1263" r:id="rId63"/>
    <p:sldId id="1285" r:id="rId64"/>
    <p:sldId id="1286" r:id="rId65"/>
    <p:sldId id="1313" r:id="rId66"/>
    <p:sldId id="1314" r:id="rId67"/>
    <p:sldId id="1315" r:id="rId68"/>
    <p:sldId id="1316" r:id="rId69"/>
    <p:sldId id="1356" r:id="rId70"/>
    <p:sldId id="1357" r:id="rId71"/>
    <p:sldId id="1358" r:id="rId72"/>
    <p:sldId id="1265" r:id="rId73"/>
    <p:sldId id="1317" r:id="rId74"/>
    <p:sldId id="1318" r:id="rId75"/>
    <p:sldId id="1266" r:id="rId76"/>
    <p:sldId id="1321" r:id="rId77"/>
    <p:sldId id="1322" r:id="rId78"/>
    <p:sldId id="1267" r:id="rId79"/>
    <p:sldId id="1323" r:id="rId80"/>
    <p:sldId id="1324" r:id="rId81"/>
    <p:sldId id="1268" r:id="rId82"/>
    <p:sldId id="1326" r:id="rId83"/>
    <p:sldId id="1327" r:id="rId84"/>
    <p:sldId id="1328" r:id="rId85"/>
    <p:sldId id="1329" r:id="rId86"/>
    <p:sldId id="1330" r:id="rId87"/>
    <p:sldId id="1332" r:id="rId88"/>
    <p:sldId id="1275" r:id="rId8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175AAF7B-6436-91F5-303F-5CB8CB346D84}" name="Judith Stein" initials="JS" userId="S::M310584@one.merckgroup.com::01ac930b-de32-4d6f-8006-a3d5b4c39df6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24" autoAdjust="0"/>
    <p:restoredTop sz="94719" autoAdjust="0"/>
  </p:normalViewPr>
  <p:slideViewPr>
    <p:cSldViewPr snapToGrid="0">
      <p:cViewPr>
        <p:scale>
          <a:sx n="90" d="100"/>
          <a:sy n="90" d="100"/>
        </p:scale>
        <p:origin x="72" y="96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microsoft.com/office/2018/10/relationships/authors" Target="author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viewProps" Target="view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comments/modernComment_4F4_1F7A101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FC9D09-9DE8-4EDA-A5B2-73466834CFF3}" authorId="{175AAF7B-6436-91F5-303F-5CB8CB346D84}" created="2024-08-12T13:05:41.695">
    <pc:sldMkLst xmlns:pc="http://schemas.microsoft.com/office/powerpoint/2013/main/command">
      <pc:docMk/>
      <pc:sldMk cId="528093210" sldId="1268"/>
    </pc:sldMkLst>
    <p188:txBody>
      <a:bodyPr/>
      <a:lstStyle/>
      <a:p>
        <a:r>
          <a:rPr lang="de-DE"/>
          <a:t>α is cooperativity factor like Vaibhav and Haid/Reichel did it (links binary complex affinities to ternary complex affinity)</a:t>
        </a:r>
      </a:p>
    </p188:txBody>
  </p188:cm>
</p188:cmLst>
</file>

<file path=ppt/comments/modernComment_4FB_289D6C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0606819-1401-45F1-8FAC-E3CEE49DBB5D}" authorId="{175AAF7B-6436-91F5-303F-5CB8CB346D84}" created="2024-08-12T13:05:02.973">
    <pc:sldMkLst xmlns:pc="http://schemas.microsoft.com/office/powerpoint/2013/main/command">
      <pc:docMk/>
      <pc:sldMk cId="681405609" sldId="1275"/>
    </pc:sldMkLst>
    <p188:replyLst>
      <p188:reply id="{B6A15736-0E3E-4E74-8EB0-CC529E33C592}" authorId="{175AAF7B-6436-91F5-303F-5CB8CB346D84}" created="2024-08-13T14:01:03.118">
        <p188:txBody>
          <a:bodyPr/>
          <a:lstStyle/>
          <a:p>
            <a:r>
              <a:rPr lang="de-DE"/>
              <a:t>Welche Konz. für EC50 muss getestet werden, wenn wir Daten dazu haben</a:t>
            </a:r>
          </a:p>
        </p188:txBody>
      </p188:reply>
    </p188:replyLst>
    <p188:txBody>
      <a:bodyPr/>
      <a:lstStyle/>
      <a:p>
        <a:r>
          <a:rPr lang="de-DE"/>
          <a:t>2 verschiedene EC50? Welche Konzentrationen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37976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2763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re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Blue additional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; </a:t>
                </a:r>
                <a:r>
                  <a:rPr lang="de-DE" dirty="0" err="1"/>
                  <a:t>red</a:t>
                </a:r>
                <a:r>
                  <a:rPr lang="de-DE" dirty="0"/>
                  <a:t> – </a:t>
                </a:r>
                <a:r>
                  <a:rPr lang="de-DE" dirty="0" err="1"/>
                  <a:t>preliminary</a:t>
                </a:r>
                <a:r>
                  <a:rPr lang="de-DE" dirty="0"/>
                  <a:t>, </a:t>
                </a:r>
                <a:r>
                  <a:rPr lang="de-DE" dirty="0" err="1"/>
                  <a:t>nee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iscussed</a:t>
                </a:r>
                <a:r>
                  <a:rPr lang="de-DE" dirty="0"/>
                  <a:t> and </a:t>
                </a:r>
                <a:r>
                  <a:rPr lang="de-DE" dirty="0" err="1"/>
                  <a:t>may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i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ear</a:t>
                </a:r>
                <a:r>
                  <a:rPr lang="de-DE" dirty="0"/>
                  <a:t> </a:t>
                </a:r>
                <a:r>
                  <a:rPr lang="de-DE" dirty="0" err="1"/>
                  <a:t>future</a:t>
                </a:r>
                <a:r>
                  <a:rPr lang="de-DE" dirty="0"/>
                  <a:t>;</a:t>
                </a:r>
              </a:p>
              <a:p>
                <a:endParaRPr lang="de-DE" dirty="0"/>
              </a:p>
              <a:p>
                <a:r>
                  <a:rPr lang="de-DE" dirty="0"/>
                  <a:t>Overall different </a:t>
                </a:r>
                <a:r>
                  <a:rPr lang="de-DE" dirty="0" err="1"/>
                  <a:t>assumptions</a:t>
                </a:r>
                <a:r>
                  <a:rPr lang="de-DE" dirty="0"/>
                  <a:t> </a:t>
                </a:r>
                <a:r>
                  <a:rPr lang="de-DE" dirty="0" err="1"/>
                  <a:t>were</a:t>
                </a:r>
                <a:r>
                  <a:rPr lang="de-DE" dirty="0"/>
                  <a:t> </a:t>
                </a:r>
                <a:r>
                  <a:rPr lang="de-DE" dirty="0" err="1"/>
                  <a:t>made</a:t>
                </a:r>
                <a:r>
                  <a:rPr lang="de-DE" dirty="0"/>
                  <a:t>: e.g.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Media = pH7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𝐼𝑁𝑇𝐸𝑅𝑀〗_𝑐ℎ𝑎𝑟𝑔𝑒𝑑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  </a:t>
                </a:r>
                <a:r>
                  <a:rPr lang="en-US" dirty="0"/>
                  <a:t>and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𝐼𝑁𝑇𝐸𝑅𝑀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for exocytosis (no </a:t>
                </a:r>
                <a:r>
                  <a:rPr lang="en-US" sz="1200" i="0">
                    <a:latin typeface="Cambria Math" panose="02040503050406030204" pitchFamily="18" charset="0"/>
                  </a:rPr>
                  <a:t>〖</a:t>
                </a:r>
                <a:r>
                  <a:rPr lang="en-US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𝐴𝐷𝐶〗^(𝑒𝑛𝑑𝑜/𝑙𝑦𝑠𝑜),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𝐿𝐼𝑁𝐾𝐸𝑅〗^(</a:t>
                </a:r>
                <a:r>
                  <a:rPr lang="en-US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,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𝐿𝐼𝑁𝐾𝐸𝑅/𝑃𝐴𝐵𝐶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or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𝐷𝑅𝑈𝐺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unspecific protein binding of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𝑀^𝐷𝑟𝑢𝑔</a:t>
                </a:r>
                <a:r>
                  <a:rPr lang="en-US" dirty="0"/>
                  <a:t> (not yet of </a:t>
                </a:r>
                <a:r>
                  <a:rPr lang="en-US" b="0" i="0">
                    <a:latin typeface="Cambria Math" panose="02040503050406030204" pitchFamily="18" charset="0"/>
                  </a:rPr>
                  <a:t>𝑀_𝑐ℎ𝑎𝑟𝑔𝑒𝑑^𝐼𝑁𝑇𝐸𝑅𝑀</a:t>
                </a:r>
                <a:r>
                  <a:rPr lang="en-US" dirty="0"/>
                  <a:t> and </a:t>
                </a:r>
                <a:r>
                  <a:rPr lang="en-US" b="0" i="0">
                    <a:latin typeface="Cambria Math" panose="02040503050406030204" pitchFamily="18" charset="0"/>
                  </a:rPr>
                  <a:t>𝑀^𝐼𝑁𝑇𝐸𝑅𝑀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DRUG in </a:t>
                </a:r>
                <a:r>
                  <a:rPr lang="en-US" dirty="0" err="1"/>
                  <a:t>nuc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sz="120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𝐼</a:t>
                </a:r>
                <a:r>
                  <a:rPr lang="en-US" sz="1200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𝑁𝑇𝐸𝑅𝑀_𝐶ℎ𝑎𝑟𝑔𝑒𝑑</a:t>
                </a:r>
                <a:r>
                  <a:rPr lang="en-US" dirty="0">
                    <a:solidFill>
                      <a:srgbClr val="FF0000"/>
                    </a:solidFill>
                  </a:rPr>
                  <a:t> / can be degraded to </a:t>
                </a:r>
                <a:r>
                  <a:rPr lang="en-US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𝐷</a:t>
                </a:r>
                <a:r>
                  <a:rPr lang="en-US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𝑅𝑈𝐺</a:t>
                </a:r>
                <a:r>
                  <a:rPr lang="en-US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 err="1"/>
                  <a:t>Targed</a:t>
                </a:r>
                <a:r>
                  <a:rPr lang="en-US" dirty="0"/>
                  <a:t> (</a:t>
                </a:r>
                <a:r>
                  <a:rPr lang="en-US" dirty="0" err="1"/>
                  <a:t>dna</a:t>
                </a:r>
                <a:r>
                  <a:rPr lang="en-US" dirty="0"/>
                  <a:t>) bound drug (bound covalently or not) is no longer available after cell death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88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233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63579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93522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9860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60829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70417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20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sz="1200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20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〖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𝐴𝑏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〗_(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𝑏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0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,𝑏,𝑎𝑔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)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^𝑐𝑒𝑙𝑙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=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〖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𝐴𝑏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〗_(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𝑓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,𝑏,𝑎𝑔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)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698818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33639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4460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87078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2895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82697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97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6216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25820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025755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260282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57470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62317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831192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275274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58610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183604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i="1" smtClean="0">
                        <a:solidFill>
                          <a:srgbClr val="FF0000"/>
                        </a:solidFill>
                        <a:highlight>
                          <a:srgbClr val="00FFFF"/>
                        </a:highlight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cooperativity</a:t>
                </a:r>
                <a:r>
                  <a:rPr lang="de-DE" dirty="0"/>
                  <a:t> </a:t>
                </a:r>
                <a:r>
                  <a:rPr lang="de-DE" dirty="0" err="1"/>
                  <a:t>factor</a:t>
                </a:r>
                <a:r>
                  <a:rPr lang="de-DE" dirty="0"/>
                  <a:t> like Vaibhav and Haid/Reichel </a:t>
                </a:r>
                <a:r>
                  <a:rPr lang="de-DE" dirty="0" err="1"/>
                  <a:t>did</a:t>
                </a:r>
                <a:r>
                  <a:rPr lang="de-DE" dirty="0"/>
                  <a:t> </a:t>
                </a:r>
                <a:r>
                  <a:rPr lang="de-DE" dirty="0" err="1"/>
                  <a:t>it</a:t>
                </a:r>
                <a:r>
                  <a:rPr lang="de-DE" dirty="0"/>
                  <a:t> (links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ie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er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y</a:t>
                </a:r>
                <a:r>
                  <a:rPr lang="de-DE" dirty="0"/>
                  <a:t>)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solidFill>
                      <a:srgbClr val="FF0000"/>
                    </a:solidFill>
                    <a:highlight>
                      <a:srgbClr val="00FFFF"/>
                    </a:highlight>
                    <a:latin typeface="Cambria Math" panose="02040503050406030204" pitchFamily="18" charset="0"/>
                    <a:ea typeface="Cambria Math" panose="02040503050406030204" pitchFamily="18" charset="0"/>
                  </a:rPr>
                  <a:t>α</a:t>
                </a:r>
                <a:r>
                  <a:rPr lang="de-DE" dirty="0"/>
                  <a:t>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cooperativity</a:t>
                </a:r>
                <a:r>
                  <a:rPr lang="de-DE" dirty="0"/>
                  <a:t> </a:t>
                </a:r>
                <a:r>
                  <a:rPr lang="de-DE" dirty="0" err="1"/>
                  <a:t>factor</a:t>
                </a:r>
                <a:r>
                  <a:rPr lang="de-DE" dirty="0"/>
                  <a:t> like Vaibhav and Haid/Reichel </a:t>
                </a:r>
                <a:r>
                  <a:rPr lang="de-DE" dirty="0" err="1"/>
                  <a:t>did</a:t>
                </a:r>
                <a:r>
                  <a:rPr lang="de-DE" dirty="0"/>
                  <a:t> </a:t>
                </a:r>
                <a:r>
                  <a:rPr lang="de-DE" dirty="0" err="1"/>
                  <a:t>it</a:t>
                </a:r>
                <a:r>
                  <a:rPr lang="de-DE" dirty="0"/>
                  <a:t> (links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ie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er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y</a:t>
                </a:r>
                <a:r>
                  <a:rPr lang="de-DE" dirty="0"/>
                  <a:t>)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6591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1314475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9359858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771916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984848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5610917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83318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/>
                  <a:t>Or do we have?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𝐸𝐶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fi-FI">
                            <a:latin typeface="Cambria Math" panose="02040503050406030204" pitchFamily="18" charset="0"/>
                          </a:rPr>
                          <m:t>ln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Sup>
                                  <m:sSubSupPr>
                                    <m:ctrlPr>
                                      <a:rPr lang="en-US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𝐷𝑟𝑢𝑔</m:t>
                                    </m:r>
                                    <m:r>
                                      <a:rPr lang="de-DE" b="0" i="1" smtClean="0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𝑇𝑎𝑟𝑔𝑒𝑡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sub>
                                  <m:sup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𝑐𝑒𝑙𝑙</m:t>
                                    </m:r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𝑐𝑦𝑡𝑜</m:t>
                                    </m:r>
                                  </m:sup>
                                </m:sSub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𝑆𝐹</m:t>
                                </m:r>
                              </m:num>
                              <m:den>
                                <m:sSup>
                                  <m:sSup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p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𝑒𝑙𝑙</m:t>
                                    </m:r>
                                  </m:sup>
                                </m:sSup>
                              </m:den>
                            </m:f>
                          </m:e>
                        </m:d>
                      </m:e>
                    </m:func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fi-FI">
                            <a:latin typeface="Cambria Math" panose="02040503050406030204" pitchFamily="18" charset="0"/>
                          </a:rPr>
                          <m:t>ln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  <m: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50</m:t>
                                </m:r>
                              </m:sub>
                            </m:sSub>
                          </m:e>
                        </m:d>
                      </m:e>
                    </m:func>
                  </m:oMath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𝑇𝑎𝑟𝑔𝑒𝑡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d>
                                    <m:dPr>
                                      <m:ctrlP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d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𝑇𝑎𝑟𝑔𝑒𝑡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b="0" i="0">
                    <a:latin typeface="Cambria Math" panose="02040503050406030204" pitchFamily="18" charset="0"/>
                  </a:rPr>
                  <a:t>𝑡</a:t>
                </a:r>
                <a:r>
                  <a:rPr lang="en-US" b="0" i="0">
                    <a:latin typeface="Cambria Math" panose="02040503050406030204" pitchFamily="18" charset="0"/>
                  </a:rPr>
                  <a:t>_</a:t>
                </a:r>
                <a:r>
                  <a:rPr lang="de-DE" b="0" i="0">
                    <a:latin typeface="Cambria Math" panose="02040503050406030204" pitchFamily="18" charset="0"/>
                  </a:rPr>
                  <a:t>𝑙^𝐸𝐶</a:t>
                </a:r>
                <a:r>
                  <a:rPr lang="en-US" i="0">
                    <a:latin typeface="Cambria Math" panose="02040503050406030204" pitchFamily="18" charset="0"/>
                  </a:rPr>
                  <a:t>=</a:t>
                </a:r>
                <a:r>
                  <a:rPr lang="fi-FI" i="0">
                    <a:latin typeface="Cambria Math" panose="02040503050406030204" pitchFamily="18" charset="0"/>
                  </a:rPr>
                  <a:t>ln</a:t>
                </a:r>
                <a:r>
                  <a:rPr lang="en-US" i="0">
                    <a:latin typeface="Cambria Math" panose="02040503050406030204" pitchFamily="18" charset="0"/>
                  </a:rPr>
                  <a:t>⁡((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𝐷𝑟𝑢𝑔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𝑇𝑎𝑟𝑔𝑒𝑡</a:t>
                </a:r>
                <a:r>
                  <a:rPr lang="en-US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𝑓^</a:t>
                </a:r>
                <a:r>
                  <a:rPr lang="en-US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(</a:t>
                </a:r>
                <a:r>
                  <a:rPr lang="de-DE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𝑐𝑒𝑙𝑙,𝑐𝑦𝑡𝑜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)</a:t>
                </a:r>
                <a:r>
                  <a:rPr lang="fi-FI" i="0">
                    <a:latin typeface="Cambria Math" panose="02040503050406030204" pitchFamily="18" charset="0"/>
                  </a:rPr>
                  <a:t>×𝑆𝐹</a:t>
                </a:r>
                <a:r>
                  <a:rPr lang="en-US" i="0">
                    <a:latin typeface="Cambria Math" panose="02040503050406030204" pitchFamily="18" charset="0"/>
                  </a:rPr>
                  <a:t>)/𝑉^</a:t>
                </a:r>
                <a:r>
                  <a:rPr lang="de-DE" i="0">
                    <a:latin typeface="Cambria Math" panose="02040503050406030204" pitchFamily="18" charset="0"/>
                  </a:rPr>
                  <a:t>𝑐</a:t>
                </a:r>
                <a:r>
                  <a:rPr lang="en-US" i="0">
                    <a:latin typeface="Cambria Math" panose="02040503050406030204" pitchFamily="18" charset="0"/>
                  </a:rPr>
                  <a:t>𝑒𝑙𝑙 )−</a:t>
                </a:r>
                <a:r>
                  <a:rPr lang="fi-FI" i="0">
                    <a:latin typeface="Cambria Math" panose="02040503050406030204" pitchFamily="18" charset="0"/>
                  </a:rPr>
                  <a:t>ln</a:t>
                </a:r>
                <a:r>
                  <a:rPr lang="en-US" i="0">
                    <a:latin typeface="Cambria Math" panose="02040503050406030204" pitchFamily="18" charset="0"/>
                  </a:rPr>
                  <a:t>⁡(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〖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𝐸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𝐶〗_50 )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564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16.10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NULL"/><Relationship Id="rId84" Type="http://schemas.openxmlformats.org/officeDocument/2006/relationships/image" Target="../media/image9.png"/><Relationship Id="rId120" Type="http://schemas.openxmlformats.org/officeDocument/2006/relationships/image" Target="NULL"/><Relationship Id="rId125" Type="http://schemas.openxmlformats.org/officeDocument/2006/relationships/image" Target="../media/image20.png"/><Relationship Id="rId133" Type="http://schemas.openxmlformats.org/officeDocument/2006/relationships/image" Target="../media/image28.png"/><Relationship Id="rId138" Type="http://schemas.openxmlformats.org/officeDocument/2006/relationships/image" Target="../media/image33.png"/><Relationship Id="rId141" Type="http://schemas.openxmlformats.org/officeDocument/2006/relationships/image" Target="../media/image36.png"/><Relationship Id="rId146" Type="http://schemas.openxmlformats.org/officeDocument/2006/relationships/image" Target="../media/image41.png"/><Relationship Id="rId154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79" Type="http://schemas.openxmlformats.org/officeDocument/2006/relationships/image" Target="../media/image4.png"/><Relationship Id="rId87" Type="http://schemas.openxmlformats.org/officeDocument/2006/relationships/image" Target="../media/image12.png"/><Relationship Id="rId123" Type="http://schemas.openxmlformats.org/officeDocument/2006/relationships/image" Target="../media/image18.png"/><Relationship Id="rId128" Type="http://schemas.openxmlformats.org/officeDocument/2006/relationships/image" Target="../media/image23.png"/><Relationship Id="rId131" Type="http://schemas.openxmlformats.org/officeDocument/2006/relationships/image" Target="../media/image26.png"/><Relationship Id="rId136" Type="http://schemas.openxmlformats.org/officeDocument/2006/relationships/image" Target="../media/image31.png"/><Relationship Id="rId144" Type="http://schemas.openxmlformats.org/officeDocument/2006/relationships/image" Target="../media/image39.png"/><Relationship Id="rId149" Type="http://schemas.openxmlformats.org/officeDocument/2006/relationships/image" Target="../media/image46.png"/><Relationship Id="rId157" Type="http://schemas.openxmlformats.org/officeDocument/2006/relationships/image" Target="../media/image54.png"/><Relationship Id="rId82" Type="http://schemas.openxmlformats.org/officeDocument/2006/relationships/image" Target="../media/image7.png"/><Relationship Id="rId152" Type="http://schemas.openxmlformats.org/officeDocument/2006/relationships/image" Target="../media/image49.png"/><Relationship Id="rId4" Type="http://schemas.openxmlformats.org/officeDocument/2006/relationships/image" Target="../media/image3.png"/><Relationship Id="rId118" Type="http://schemas.openxmlformats.org/officeDocument/2006/relationships/image" Target="../media/image14.png"/><Relationship Id="rId126" Type="http://schemas.openxmlformats.org/officeDocument/2006/relationships/image" Target="../media/image21.png"/><Relationship Id="rId134" Type="http://schemas.openxmlformats.org/officeDocument/2006/relationships/image" Target="../media/image29.png"/><Relationship Id="rId139" Type="http://schemas.openxmlformats.org/officeDocument/2006/relationships/image" Target="../media/image34.png"/><Relationship Id="rId147" Type="http://schemas.openxmlformats.org/officeDocument/2006/relationships/image" Target="../media/image43.png"/><Relationship Id="rId80" Type="http://schemas.openxmlformats.org/officeDocument/2006/relationships/image" Target="../media/image5.png"/><Relationship Id="rId85" Type="http://schemas.openxmlformats.org/officeDocument/2006/relationships/image" Target="../media/image10.png"/><Relationship Id="rId121" Type="http://schemas.openxmlformats.org/officeDocument/2006/relationships/image" Target="../media/image16.png"/><Relationship Id="rId142" Type="http://schemas.openxmlformats.org/officeDocument/2006/relationships/image" Target="../media/image37.png"/><Relationship Id="rId150" Type="http://schemas.openxmlformats.org/officeDocument/2006/relationships/image" Target="../media/image47.png"/><Relationship Id="rId155" Type="http://schemas.openxmlformats.org/officeDocument/2006/relationships/image" Target="../media/image52.png"/><Relationship Id="rId3" Type="http://schemas.openxmlformats.org/officeDocument/2006/relationships/image" Target="../media/image213.png"/><Relationship Id="rId124" Type="http://schemas.openxmlformats.org/officeDocument/2006/relationships/image" Target="../media/image19.png"/><Relationship Id="rId129" Type="http://schemas.openxmlformats.org/officeDocument/2006/relationships/image" Target="../media/image24.png"/><Relationship Id="rId137" Type="http://schemas.openxmlformats.org/officeDocument/2006/relationships/image" Target="../media/image32.png"/><Relationship Id="rId158" Type="http://schemas.openxmlformats.org/officeDocument/2006/relationships/image" Target="../media/image55.png"/><Relationship Id="rId83" Type="http://schemas.openxmlformats.org/officeDocument/2006/relationships/image" Target="../media/image8.png"/><Relationship Id="rId88" Type="http://schemas.openxmlformats.org/officeDocument/2006/relationships/image" Target="../media/image13.png"/><Relationship Id="rId132" Type="http://schemas.openxmlformats.org/officeDocument/2006/relationships/image" Target="../media/image27.png"/><Relationship Id="rId140" Type="http://schemas.openxmlformats.org/officeDocument/2006/relationships/image" Target="../media/image35.png"/><Relationship Id="rId145" Type="http://schemas.openxmlformats.org/officeDocument/2006/relationships/image" Target="../media/image40.png"/><Relationship Id="rId153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119" Type="http://schemas.openxmlformats.org/officeDocument/2006/relationships/image" Target="../media/image15.png"/><Relationship Id="rId127" Type="http://schemas.openxmlformats.org/officeDocument/2006/relationships/image" Target="../media/image22.png"/><Relationship Id="rId78" Type="http://schemas.openxmlformats.org/officeDocument/2006/relationships/image" Target="NULL"/><Relationship Id="rId81" Type="http://schemas.openxmlformats.org/officeDocument/2006/relationships/image" Target="../media/image6.png"/><Relationship Id="rId86" Type="http://schemas.openxmlformats.org/officeDocument/2006/relationships/image" Target="../media/image11.png"/><Relationship Id="rId122" Type="http://schemas.openxmlformats.org/officeDocument/2006/relationships/image" Target="../media/image17.png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43" Type="http://schemas.openxmlformats.org/officeDocument/2006/relationships/image" Target="../media/image38.png"/><Relationship Id="rId148" Type="http://schemas.openxmlformats.org/officeDocument/2006/relationships/image" Target="../media/image44.png"/><Relationship Id="rId151" Type="http://schemas.openxmlformats.org/officeDocument/2006/relationships/image" Target="../media/image48.png"/><Relationship Id="rId156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0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26.xml.rels><?xml version="1.0" encoding="UTF-8" standalone="yes"?>
<Relationships xmlns="http://schemas.openxmlformats.org/package/2006/relationships"><Relationship Id="rId7" Type="http://schemas.openxmlformats.org/officeDocument/2006/relationships/image" Target="../media/image2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3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7" Type="http://schemas.openxmlformats.org/officeDocument/2006/relationships/image" Target="../media/image25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8" Type="http://schemas.openxmlformats.org/officeDocument/2006/relationships/image" Target="../media/image164.png"/><Relationship Id="rId3" Type="http://schemas.openxmlformats.org/officeDocument/2006/relationships/image" Target="../media/image166.png"/><Relationship Id="rId7" Type="http://schemas.openxmlformats.org/officeDocument/2006/relationships/image" Target="../media/image170.png"/><Relationship Id="rId17" Type="http://schemas.openxmlformats.org/officeDocument/2006/relationships/image" Target="../media/image163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9.png"/><Relationship Id="rId5" Type="http://schemas.openxmlformats.org/officeDocument/2006/relationships/image" Target="../media/image168.png"/><Relationship Id="rId4" Type="http://schemas.openxmlformats.org/officeDocument/2006/relationships/image" Target="../media/image16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910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5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0.png"/><Relationship Id="rId4" Type="http://schemas.openxmlformats.org/officeDocument/2006/relationships/image" Target="../media/image194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4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3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0.png"/><Relationship Id="rId4" Type="http://schemas.openxmlformats.org/officeDocument/2006/relationships/image" Target="../media/image194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5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6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89.png"/><Relationship Id="rId7" Type="http://schemas.openxmlformats.org/officeDocument/2006/relationships/image" Target="NUL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0.png"/><Relationship Id="rId42" Type="http://schemas.openxmlformats.org/officeDocument/2006/relationships/image" Target="../media/image182.png"/><Relationship Id="rId47" Type="http://schemas.openxmlformats.org/officeDocument/2006/relationships/image" Target="../media/image187.png"/><Relationship Id="rId63" Type="http://schemas.openxmlformats.org/officeDocument/2006/relationships/image" Target="../media/image204.png"/><Relationship Id="rId68" Type="http://schemas.openxmlformats.org/officeDocument/2006/relationships/image" Target="../media/image209.png"/><Relationship Id="rId154" Type="http://schemas.openxmlformats.org/officeDocument/2006/relationships/image" Target="../media/image223.png"/><Relationship Id="rId159" Type="http://schemas.openxmlformats.org/officeDocument/2006/relationships/image" Target="../media/image228.png"/><Relationship Id="rId175" Type="http://schemas.openxmlformats.org/officeDocument/2006/relationships/image" Target="../media/image243.png"/><Relationship Id="rId170" Type="http://schemas.openxmlformats.org/officeDocument/2006/relationships/image" Target="../media/image239.png"/><Relationship Id="rId11" Type="http://schemas.openxmlformats.org/officeDocument/2006/relationships/image" Target="../media/image6100.png"/><Relationship Id="rId32" Type="http://schemas.openxmlformats.org/officeDocument/2006/relationships/image" Target="../media/image171.png"/><Relationship Id="rId37" Type="http://schemas.openxmlformats.org/officeDocument/2006/relationships/image" Target="../media/image176.png"/><Relationship Id="rId53" Type="http://schemas.openxmlformats.org/officeDocument/2006/relationships/image" Target="../media/image194.png"/><Relationship Id="rId58" Type="http://schemas.openxmlformats.org/officeDocument/2006/relationships/image" Target="../media/image199.png"/><Relationship Id="rId74" Type="http://schemas.openxmlformats.org/officeDocument/2006/relationships/image" Target="../media/image217.png"/><Relationship Id="rId5" Type="http://schemas.openxmlformats.org/officeDocument/2006/relationships/image" Target="../media/image5400.png"/><Relationship Id="rId61" Type="http://schemas.openxmlformats.org/officeDocument/2006/relationships/image" Target="../media/image202.png"/><Relationship Id="rId152" Type="http://schemas.openxmlformats.org/officeDocument/2006/relationships/image" Target="../media/image221.png"/><Relationship Id="rId160" Type="http://schemas.openxmlformats.org/officeDocument/2006/relationships/image" Target="../media/image229.png"/><Relationship Id="rId165" Type="http://schemas.openxmlformats.org/officeDocument/2006/relationships/image" Target="../media/image234.png"/><Relationship Id="rId173" Type="http://schemas.openxmlformats.org/officeDocument/2006/relationships/image" Target="../media/image241.png"/><Relationship Id="rId27" Type="http://schemas.openxmlformats.org/officeDocument/2006/relationships/image" Target="../media/image1661.png"/><Relationship Id="rId30" Type="http://schemas.openxmlformats.org/officeDocument/2006/relationships/image" Target="../media/image1691.png"/><Relationship Id="rId35" Type="http://schemas.openxmlformats.org/officeDocument/2006/relationships/image" Target="../media/image174.png"/><Relationship Id="rId43" Type="http://schemas.openxmlformats.org/officeDocument/2006/relationships/image" Target="../media/image183.png"/><Relationship Id="rId48" Type="http://schemas.openxmlformats.org/officeDocument/2006/relationships/image" Target="../media/image188.png"/><Relationship Id="rId56" Type="http://schemas.openxmlformats.org/officeDocument/2006/relationships/image" Target="../media/image197.png"/><Relationship Id="rId64" Type="http://schemas.openxmlformats.org/officeDocument/2006/relationships/image" Target="../media/image205.png"/><Relationship Id="rId69" Type="http://schemas.openxmlformats.org/officeDocument/2006/relationships/image" Target="../media/image211.png"/><Relationship Id="rId51" Type="http://schemas.openxmlformats.org/officeDocument/2006/relationships/image" Target="../media/image192.png"/><Relationship Id="rId72" Type="http://schemas.openxmlformats.org/officeDocument/2006/relationships/image" Target="../media/image215.png"/><Relationship Id="rId150" Type="http://schemas.openxmlformats.org/officeDocument/2006/relationships/image" Target="../media/image770.png"/><Relationship Id="rId155" Type="http://schemas.openxmlformats.org/officeDocument/2006/relationships/image" Target="../media/image224.png"/><Relationship Id="rId163" Type="http://schemas.openxmlformats.org/officeDocument/2006/relationships/image" Target="../media/image232.png"/><Relationship Id="rId171" Type="http://schemas.openxmlformats.org/officeDocument/2006/relationships/image" Target="../media/image240.png"/><Relationship Id="rId176" Type="http://schemas.openxmlformats.org/officeDocument/2006/relationships/image" Target="../media/image244.png"/><Relationship Id="rId12" Type="http://schemas.openxmlformats.org/officeDocument/2006/relationships/image" Target="../media/image1651.png"/><Relationship Id="rId25" Type="http://schemas.openxmlformats.org/officeDocument/2006/relationships/image" Target="../media/image6900.png"/><Relationship Id="rId33" Type="http://schemas.openxmlformats.org/officeDocument/2006/relationships/image" Target="../media/image172.png"/><Relationship Id="rId38" Type="http://schemas.openxmlformats.org/officeDocument/2006/relationships/image" Target="../media/image177.png"/><Relationship Id="rId46" Type="http://schemas.openxmlformats.org/officeDocument/2006/relationships/image" Target="../media/image186.png"/><Relationship Id="rId59" Type="http://schemas.openxmlformats.org/officeDocument/2006/relationships/image" Target="../media/image200.png"/><Relationship Id="rId67" Type="http://schemas.openxmlformats.org/officeDocument/2006/relationships/image" Target="../media/image208.png"/><Relationship Id="rId158" Type="http://schemas.openxmlformats.org/officeDocument/2006/relationships/image" Target="../media/image227.png"/><Relationship Id="rId41" Type="http://schemas.openxmlformats.org/officeDocument/2006/relationships/image" Target="../media/image181.png"/><Relationship Id="rId54" Type="http://schemas.openxmlformats.org/officeDocument/2006/relationships/image" Target="../media/image195.png"/><Relationship Id="rId62" Type="http://schemas.openxmlformats.org/officeDocument/2006/relationships/image" Target="../media/image203.png"/><Relationship Id="rId70" Type="http://schemas.openxmlformats.org/officeDocument/2006/relationships/image" Target="../media/image212.png"/><Relationship Id="rId75" Type="http://schemas.openxmlformats.org/officeDocument/2006/relationships/image" Target="../media/image218.png"/><Relationship Id="rId153" Type="http://schemas.openxmlformats.org/officeDocument/2006/relationships/image" Target="../media/image222.png"/><Relationship Id="rId161" Type="http://schemas.openxmlformats.org/officeDocument/2006/relationships/image" Target="../media/image230.png"/><Relationship Id="rId166" Type="http://schemas.openxmlformats.org/officeDocument/2006/relationships/image" Target="../media/image235.png"/><Relationship Id="rId174" Type="http://schemas.openxmlformats.org/officeDocument/2006/relationships/image" Target="../media/image242.png"/><Relationship Id="rId1" Type="http://schemas.openxmlformats.org/officeDocument/2006/relationships/slideLayout" Target="../slideLayouts/slideLayout12.xml"/><Relationship Id="rId28" Type="http://schemas.openxmlformats.org/officeDocument/2006/relationships/image" Target="../media/image1671.png"/><Relationship Id="rId36" Type="http://schemas.openxmlformats.org/officeDocument/2006/relationships/image" Target="../media/image175.png"/><Relationship Id="rId49" Type="http://schemas.openxmlformats.org/officeDocument/2006/relationships/image" Target="../media/image189.png"/><Relationship Id="rId57" Type="http://schemas.openxmlformats.org/officeDocument/2006/relationships/image" Target="../media/image198.png"/><Relationship Id="rId31" Type="http://schemas.openxmlformats.org/officeDocument/2006/relationships/image" Target="../media/image1701.png"/><Relationship Id="rId44" Type="http://schemas.openxmlformats.org/officeDocument/2006/relationships/image" Target="../media/image184.png"/><Relationship Id="rId52" Type="http://schemas.openxmlformats.org/officeDocument/2006/relationships/image" Target="../media/image193.png"/><Relationship Id="rId60" Type="http://schemas.openxmlformats.org/officeDocument/2006/relationships/image" Target="../media/image201.png"/><Relationship Id="rId65" Type="http://schemas.openxmlformats.org/officeDocument/2006/relationships/image" Target="../media/image206.png"/><Relationship Id="rId73" Type="http://schemas.openxmlformats.org/officeDocument/2006/relationships/image" Target="../media/image216.png"/><Relationship Id="rId151" Type="http://schemas.openxmlformats.org/officeDocument/2006/relationships/image" Target="../media/image781.png"/><Relationship Id="rId156" Type="http://schemas.openxmlformats.org/officeDocument/2006/relationships/image" Target="../media/image225.png"/><Relationship Id="rId164" Type="http://schemas.openxmlformats.org/officeDocument/2006/relationships/image" Target="../media/image233.png"/><Relationship Id="rId169" Type="http://schemas.openxmlformats.org/officeDocument/2006/relationships/image" Target="../media/image238.png"/><Relationship Id="rId172" Type="http://schemas.openxmlformats.org/officeDocument/2006/relationships/image" Target="../media/image237.png"/><Relationship Id="rId39" Type="http://schemas.openxmlformats.org/officeDocument/2006/relationships/image" Target="../media/image178.png"/><Relationship Id="rId34" Type="http://schemas.openxmlformats.org/officeDocument/2006/relationships/image" Target="../media/image173.png"/><Relationship Id="rId50" Type="http://schemas.openxmlformats.org/officeDocument/2006/relationships/image" Target="../media/image191.png"/><Relationship Id="rId55" Type="http://schemas.openxmlformats.org/officeDocument/2006/relationships/image" Target="../media/image196.png"/><Relationship Id="rId76" Type="http://schemas.openxmlformats.org/officeDocument/2006/relationships/image" Target="../media/image219.png"/><Relationship Id="rId167" Type="http://schemas.openxmlformats.org/officeDocument/2006/relationships/image" Target="../media/image236.png"/><Relationship Id="rId71" Type="http://schemas.openxmlformats.org/officeDocument/2006/relationships/image" Target="../media/image214.png"/><Relationship Id="rId162" Type="http://schemas.openxmlformats.org/officeDocument/2006/relationships/image" Target="../media/image231.png"/><Relationship Id="rId29" Type="http://schemas.openxmlformats.org/officeDocument/2006/relationships/image" Target="../media/image1681.png"/><Relationship Id="rId24" Type="http://schemas.openxmlformats.org/officeDocument/2006/relationships/image" Target="../media/image6800.png"/><Relationship Id="rId40" Type="http://schemas.openxmlformats.org/officeDocument/2006/relationships/image" Target="../media/image179.png"/><Relationship Id="rId45" Type="http://schemas.openxmlformats.org/officeDocument/2006/relationships/image" Target="../media/image185.png"/><Relationship Id="rId66" Type="http://schemas.openxmlformats.org/officeDocument/2006/relationships/image" Target="../media/image207.png"/><Relationship Id="rId157" Type="http://schemas.openxmlformats.org/officeDocument/2006/relationships/image" Target="../media/image226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0.png"/><Relationship Id="rId7" Type="http://schemas.openxmlformats.org/officeDocument/2006/relationships/image" Target="NUL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1.png"/><Relationship Id="rId7" Type="http://schemas.openxmlformats.org/officeDocument/2006/relationships/image" Target="NUL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0.png"/><Relationship Id="rId7" Type="http://schemas.openxmlformats.org/officeDocument/2006/relationships/image" Target="NUL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0.png"/><Relationship Id="rId7" Type="http://schemas.openxmlformats.org/officeDocument/2006/relationships/image" Target="NUL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0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2.png"/><Relationship Id="rId7" Type="http://schemas.openxmlformats.org/officeDocument/2006/relationships/image" Target="NUL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0.png"/><Relationship Id="rId7" Type="http://schemas.openxmlformats.org/officeDocument/2006/relationships/image" Target="NUL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4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image" Target="../media/image24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9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5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F4_1F7A101A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6.pn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2.png"/><Relationship Id="rId3" Type="http://schemas.openxmlformats.org/officeDocument/2006/relationships/image" Target="../media/image297.png"/><Relationship Id="rId7" Type="http://schemas.openxmlformats.org/officeDocument/2006/relationships/image" Target="../media/image301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0.png"/><Relationship Id="rId5" Type="http://schemas.openxmlformats.org/officeDocument/2006/relationships/image" Target="../media/image299.png"/><Relationship Id="rId4" Type="http://schemas.openxmlformats.org/officeDocument/2006/relationships/image" Target="../media/image298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3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4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5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6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microsoft.com/office/2018/10/relationships/comments" Target="../comments/modernComment_4FB_289D6CA9.xml"/><Relationship Id="rId7" Type="http://schemas.openxmlformats.org/officeDocument/2006/relationships/image" Target="NUL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../media/image311.png"/><Relationship Id="rId5" Type="http://schemas.openxmlformats.org/officeDocument/2006/relationships/image" Target="../media/image309.png"/><Relationship Id="rId10" Type="http://schemas.openxmlformats.org/officeDocument/2006/relationships/image" Target="NULL"/><Relationship Id="rId4" Type="http://schemas.openxmlformats.org/officeDocument/2006/relationships/image" Target="../media/image308.png"/><Relationship Id="rId9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2024-06-14 Add metabolites</a:t>
            </a:r>
          </a:p>
          <a:p>
            <a:r>
              <a:rPr lang="en-US" dirty="0">
                <a:highlight>
                  <a:srgbClr val="FFFF00"/>
                </a:highlight>
              </a:rPr>
              <a:t>2024-08-09 Add ADC with 2 free arms</a:t>
            </a:r>
          </a:p>
          <a:p>
            <a:r>
              <a:rPr lang="en-US" dirty="0">
                <a:highlight>
                  <a:srgbClr val="00FFFF"/>
                </a:highlight>
              </a:rPr>
              <a:t>2024-08-09 </a:t>
            </a:r>
            <a:r>
              <a:rPr lang="en-US" dirty="0" err="1">
                <a:highlight>
                  <a:srgbClr val="00FFFF"/>
                </a:highlight>
              </a:rPr>
              <a:t>MoA</a:t>
            </a:r>
            <a:r>
              <a:rPr lang="en-US" dirty="0">
                <a:highlight>
                  <a:srgbClr val="00FFFF"/>
                </a:highlight>
              </a:rPr>
              <a:t> </a:t>
            </a:r>
            <a:r>
              <a:rPr lang="en-US" dirty="0" err="1">
                <a:highlight>
                  <a:srgbClr val="00FFFF"/>
                </a:highlight>
              </a:rPr>
              <a:t>Protacs</a:t>
            </a:r>
            <a:r>
              <a:rPr lang="en-US" dirty="0">
                <a:highlight>
                  <a:srgbClr val="00FFFF"/>
                </a:highlight>
              </a:rPr>
              <a:t> (</a:t>
            </a:r>
            <a:r>
              <a:rPr lang="en-US" sz="1800" dirty="0">
                <a:solidFill>
                  <a:srgbClr val="000000"/>
                </a:solidFill>
                <a:highlight>
                  <a:srgbClr val="00FFFF"/>
                </a:highlight>
                <a:ea typeface="Verdana" panose="020B0604030504040204" pitchFamily="34" charset="0"/>
                <a:cs typeface="Verdana" panose="020B0604030504040204" pitchFamily="34" charset="0"/>
              </a:rPr>
              <a:t>ubiquitination in 1 step)</a:t>
            </a: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279498" cy="391068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279498" cy="391068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in central compartment/plasma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214242" y="2909871"/>
            <a:ext cx="256601" cy="33790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7324159" y="472263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0372109" y="35099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9437941" y="46615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39" name="Right Brace 11">
            <a:extLst>
              <a:ext uri="{FF2B5EF4-FFF2-40B4-BE49-F238E27FC236}">
                <a16:creationId xmlns:a16="http://schemas.microsoft.com/office/drawing/2014/main" id="{C3398267-44AB-1630-9A51-3AE8302F06DA}"/>
              </a:ext>
            </a:extLst>
          </p:cNvPr>
          <p:cNvSpPr/>
          <p:nvPr/>
        </p:nvSpPr>
        <p:spPr>
          <a:xfrm rot="5400000">
            <a:off x="5046392" y="35632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A70AB4C7-DFDA-96FA-3C90-557A8EB6CF32}"/>
              </a:ext>
            </a:extLst>
          </p:cNvPr>
          <p:cNvSpPr txBox="1"/>
          <p:nvPr/>
        </p:nvSpPr>
        <p:spPr>
          <a:xfrm>
            <a:off x="4112224" y="47148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41" name="Right Brace 11">
            <a:extLst>
              <a:ext uri="{FF2B5EF4-FFF2-40B4-BE49-F238E27FC236}">
                <a16:creationId xmlns:a16="http://schemas.microsoft.com/office/drawing/2014/main" id="{DBE002CE-31E0-CC2D-5351-CB23A208EF62}"/>
              </a:ext>
            </a:extLst>
          </p:cNvPr>
          <p:cNvSpPr/>
          <p:nvPr/>
        </p:nvSpPr>
        <p:spPr>
          <a:xfrm rot="5400000">
            <a:off x="7653904" y="3056300"/>
            <a:ext cx="241394" cy="30218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555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204986" cy="4097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204986" cy="409778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2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214242" y="2909871"/>
            <a:ext cx="256601" cy="33790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39" name="Right Brace 11">
            <a:extLst>
              <a:ext uri="{FF2B5EF4-FFF2-40B4-BE49-F238E27FC236}">
                <a16:creationId xmlns:a16="http://schemas.microsoft.com/office/drawing/2014/main" id="{C3398267-44AB-1630-9A51-3AE8302F06DA}"/>
              </a:ext>
            </a:extLst>
          </p:cNvPr>
          <p:cNvSpPr/>
          <p:nvPr/>
        </p:nvSpPr>
        <p:spPr>
          <a:xfrm rot="5400000">
            <a:off x="5046392" y="35632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A70AB4C7-DFDA-96FA-3C90-557A8EB6CF32}"/>
              </a:ext>
            </a:extLst>
          </p:cNvPr>
          <p:cNvSpPr txBox="1"/>
          <p:nvPr/>
        </p:nvSpPr>
        <p:spPr>
          <a:xfrm>
            <a:off x="4112224" y="47148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FD89B96-E35E-F68A-C9BB-80A677A16733}"/>
              </a:ext>
            </a:extLst>
          </p:cNvPr>
          <p:cNvSpPr/>
          <p:nvPr/>
        </p:nvSpPr>
        <p:spPr>
          <a:xfrm rot="5400000">
            <a:off x="3507231" y="77468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20E1D5B3-BD44-9CF7-9CB7-DBFCCC5DA739}"/>
              </a:ext>
            </a:extLst>
          </p:cNvPr>
          <p:cNvSpPr txBox="1"/>
          <p:nvPr/>
        </p:nvSpPr>
        <p:spPr>
          <a:xfrm>
            <a:off x="1970395" y="3389405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</p:spTree>
    <p:extLst>
      <p:ext uri="{BB962C8B-B14F-4D97-AF65-F5344CB8AC3E}">
        <p14:creationId xmlns:p14="http://schemas.microsoft.com/office/powerpoint/2010/main" val="576614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397928" cy="38731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397928" cy="3873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Metabolite1 in central compartment/plasma</a:t>
            </a:r>
          </a:p>
        </p:txBody>
      </p:sp>
      <p:sp>
        <p:nvSpPr>
          <p:cNvPr id="34" name="Right Brace 11">
            <a:extLst>
              <a:ext uri="{FF2B5EF4-FFF2-40B4-BE49-F238E27FC236}">
                <a16:creationId xmlns:a16="http://schemas.microsoft.com/office/drawing/2014/main" id="{D484E955-7725-6AA5-C9C6-02665DD28BD8}"/>
              </a:ext>
            </a:extLst>
          </p:cNvPr>
          <p:cNvSpPr/>
          <p:nvPr/>
        </p:nvSpPr>
        <p:spPr>
          <a:xfrm rot="5400000">
            <a:off x="2250163" y="2873950"/>
            <a:ext cx="256601" cy="3450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5892409E-102C-1CB6-7002-0288AB12229F}"/>
              </a:ext>
            </a:extLst>
          </p:cNvPr>
          <p:cNvSpPr txBox="1"/>
          <p:nvPr/>
        </p:nvSpPr>
        <p:spPr>
          <a:xfrm>
            <a:off x="1368673" y="4740472"/>
            <a:ext cx="2220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36" name="Right Brace 11">
            <a:extLst>
              <a:ext uri="{FF2B5EF4-FFF2-40B4-BE49-F238E27FC236}">
                <a16:creationId xmlns:a16="http://schemas.microsoft.com/office/drawing/2014/main" id="{D26793FD-1579-36DC-CA41-B411164A2D7D}"/>
              </a:ext>
            </a:extLst>
          </p:cNvPr>
          <p:cNvSpPr/>
          <p:nvPr/>
        </p:nvSpPr>
        <p:spPr>
          <a:xfrm rot="5400000">
            <a:off x="5093655" y="358003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2E17C6E8-02C4-AF39-71E7-240DD99EA57B}"/>
              </a:ext>
            </a:extLst>
          </p:cNvPr>
          <p:cNvSpPr txBox="1"/>
          <p:nvPr/>
        </p:nvSpPr>
        <p:spPr>
          <a:xfrm>
            <a:off x="4159487" y="473165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0DCB76D5-9C01-B004-AE0F-A1085CD7661D}"/>
              </a:ext>
            </a:extLst>
          </p:cNvPr>
          <p:cNvSpPr txBox="1"/>
          <p:nvPr/>
        </p:nvSpPr>
        <p:spPr>
          <a:xfrm>
            <a:off x="6986762" y="474047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42" name="Right Brace 11">
            <a:extLst>
              <a:ext uri="{FF2B5EF4-FFF2-40B4-BE49-F238E27FC236}">
                <a16:creationId xmlns:a16="http://schemas.microsoft.com/office/drawing/2014/main" id="{C82CB553-096E-7D6D-CD61-FFD8A1162C5D}"/>
              </a:ext>
            </a:extLst>
          </p:cNvPr>
          <p:cNvSpPr/>
          <p:nvPr/>
        </p:nvSpPr>
        <p:spPr>
          <a:xfrm rot="5400000">
            <a:off x="10468760" y="358945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77C5A9D7-5984-94A5-D8B1-1DF023070836}"/>
              </a:ext>
            </a:extLst>
          </p:cNvPr>
          <p:cNvSpPr txBox="1"/>
          <p:nvPr/>
        </p:nvSpPr>
        <p:spPr>
          <a:xfrm>
            <a:off x="9534592" y="4741083"/>
            <a:ext cx="2436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44" name="Right Brace 11">
            <a:extLst>
              <a:ext uri="{FF2B5EF4-FFF2-40B4-BE49-F238E27FC236}">
                <a16:creationId xmlns:a16="http://schemas.microsoft.com/office/drawing/2014/main" id="{98E81383-A8D2-E717-9381-362126D0EF5E}"/>
              </a:ext>
            </a:extLst>
          </p:cNvPr>
          <p:cNvSpPr/>
          <p:nvPr/>
        </p:nvSpPr>
        <p:spPr>
          <a:xfrm rot="5400000">
            <a:off x="7147900" y="169586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6">
            <a:extLst>
              <a:ext uri="{FF2B5EF4-FFF2-40B4-BE49-F238E27FC236}">
                <a16:creationId xmlns:a16="http://schemas.microsoft.com/office/drawing/2014/main" id="{BDEB5D97-7CA9-1746-7E3F-2091B26094EC}"/>
              </a:ext>
            </a:extLst>
          </p:cNvPr>
          <p:cNvSpPr txBox="1"/>
          <p:nvPr/>
        </p:nvSpPr>
        <p:spPr>
          <a:xfrm>
            <a:off x="6017458" y="32605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46" name="Right Brace 11">
            <a:extLst>
              <a:ext uri="{FF2B5EF4-FFF2-40B4-BE49-F238E27FC236}">
                <a16:creationId xmlns:a16="http://schemas.microsoft.com/office/drawing/2014/main" id="{03FDBCFD-1342-FD92-099F-5D3791FD1BC3}"/>
              </a:ext>
            </a:extLst>
          </p:cNvPr>
          <p:cNvSpPr/>
          <p:nvPr/>
        </p:nvSpPr>
        <p:spPr>
          <a:xfrm rot="5400000">
            <a:off x="9748424" y="21139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4340FCD2-7E3B-62B5-7D39-50E791F150C9}"/>
              </a:ext>
            </a:extLst>
          </p:cNvPr>
          <p:cNvSpPr txBox="1"/>
          <p:nvPr/>
        </p:nvSpPr>
        <p:spPr>
          <a:xfrm>
            <a:off x="8814256" y="32655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48" name="Right Brace 11">
            <a:extLst>
              <a:ext uri="{FF2B5EF4-FFF2-40B4-BE49-F238E27FC236}">
                <a16:creationId xmlns:a16="http://schemas.microsoft.com/office/drawing/2014/main" id="{273FAAC9-32D8-114B-E382-383FE299ACCA}"/>
              </a:ext>
            </a:extLst>
          </p:cNvPr>
          <p:cNvSpPr/>
          <p:nvPr/>
        </p:nvSpPr>
        <p:spPr>
          <a:xfrm rot="5400000">
            <a:off x="7762403" y="3059246"/>
            <a:ext cx="265151" cy="30973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111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314759" cy="40602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314759" cy="406021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07394" y="725537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70558" y="3340257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2 Metabolites1 in central compartment/plasma</a:t>
            </a:r>
          </a:p>
        </p:txBody>
      </p:sp>
      <p:sp>
        <p:nvSpPr>
          <p:cNvPr id="34" name="Right Brace 11">
            <a:extLst>
              <a:ext uri="{FF2B5EF4-FFF2-40B4-BE49-F238E27FC236}">
                <a16:creationId xmlns:a16="http://schemas.microsoft.com/office/drawing/2014/main" id="{D484E955-7725-6AA5-C9C6-02665DD28BD8}"/>
              </a:ext>
            </a:extLst>
          </p:cNvPr>
          <p:cNvSpPr/>
          <p:nvPr/>
        </p:nvSpPr>
        <p:spPr>
          <a:xfrm rot="5400000">
            <a:off x="2250163" y="2873950"/>
            <a:ext cx="256601" cy="3450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5892409E-102C-1CB6-7002-0288AB12229F}"/>
              </a:ext>
            </a:extLst>
          </p:cNvPr>
          <p:cNvSpPr txBox="1"/>
          <p:nvPr/>
        </p:nvSpPr>
        <p:spPr>
          <a:xfrm>
            <a:off x="1368673" y="4740472"/>
            <a:ext cx="2220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36" name="Right Brace 11">
            <a:extLst>
              <a:ext uri="{FF2B5EF4-FFF2-40B4-BE49-F238E27FC236}">
                <a16:creationId xmlns:a16="http://schemas.microsoft.com/office/drawing/2014/main" id="{D26793FD-1579-36DC-CA41-B411164A2D7D}"/>
              </a:ext>
            </a:extLst>
          </p:cNvPr>
          <p:cNvSpPr/>
          <p:nvPr/>
        </p:nvSpPr>
        <p:spPr>
          <a:xfrm rot="5400000">
            <a:off x="5093655" y="358003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2E17C6E8-02C4-AF39-71E7-240DD99EA57B}"/>
              </a:ext>
            </a:extLst>
          </p:cNvPr>
          <p:cNvSpPr txBox="1"/>
          <p:nvPr/>
        </p:nvSpPr>
        <p:spPr>
          <a:xfrm>
            <a:off x="4159487" y="473165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0914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8204747" cy="5373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8204747" cy="53735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and 1 Metabolite1 in central compartment/plasma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23208" y="3184328"/>
            <a:ext cx="369332" cy="29622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208794" y="4760003"/>
            <a:ext cx="1798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700069" y="361926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765901" y="476000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2125467" y="4606016"/>
            <a:ext cx="307777" cy="27586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1258117" y="6139219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4706025" y="49786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3882694" y="61319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3188333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EE2D4F20-5826-399D-F7E0-C03BA661ABED}"/>
              </a:ext>
            </a:extLst>
          </p:cNvPr>
          <p:cNvSpPr/>
          <p:nvPr/>
        </p:nvSpPr>
        <p:spPr>
          <a:xfrm rot="5400000">
            <a:off x="7147900" y="169586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F2324AC1-88F0-7F08-5E34-7372F726E598}"/>
              </a:ext>
            </a:extLst>
          </p:cNvPr>
          <p:cNvSpPr txBox="1"/>
          <p:nvPr/>
        </p:nvSpPr>
        <p:spPr>
          <a:xfrm>
            <a:off x="6017458" y="32605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31" name="Right Brace 11">
            <a:extLst>
              <a:ext uri="{FF2B5EF4-FFF2-40B4-BE49-F238E27FC236}">
                <a16:creationId xmlns:a16="http://schemas.microsoft.com/office/drawing/2014/main" id="{233671B0-C357-245D-4EF8-F194F30C7872}"/>
              </a:ext>
            </a:extLst>
          </p:cNvPr>
          <p:cNvSpPr/>
          <p:nvPr/>
        </p:nvSpPr>
        <p:spPr>
          <a:xfrm rot="5400000">
            <a:off x="9748424" y="21139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F3F4F3D8-8D53-A4B3-BF48-EC71D072318A}"/>
              </a:ext>
            </a:extLst>
          </p:cNvPr>
          <p:cNvSpPr txBox="1"/>
          <p:nvPr/>
        </p:nvSpPr>
        <p:spPr>
          <a:xfrm>
            <a:off x="8814256" y="32655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3" name="Right Brace 11">
            <a:extLst>
              <a:ext uri="{FF2B5EF4-FFF2-40B4-BE49-F238E27FC236}">
                <a16:creationId xmlns:a16="http://schemas.microsoft.com/office/drawing/2014/main" id="{1295C64F-823B-6A76-3498-D8D2BD462D0F}"/>
              </a:ext>
            </a:extLst>
          </p:cNvPr>
          <p:cNvSpPr/>
          <p:nvPr/>
        </p:nvSpPr>
        <p:spPr>
          <a:xfrm rot="5400000">
            <a:off x="9177156" y="2711862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gen 3">
            <a:extLst>
              <a:ext uri="{FF2B5EF4-FFF2-40B4-BE49-F238E27FC236}">
                <a16:creationId xmlns:a16="http://schemas.microsoft.com/office/drawing/2014/main" id="{5E1EAB7D-B8CA-43C5-81C1-11176B70DF5C}"/>
              </a:ext>
            </a:extLst>
          </p:cNvPr>
          <p:cNvSpPr/>
          <p:nvPr/>
        </p:nvSpPr>
        <p:spPr>
          <a:xfrm>
            <a:off x="10403732" y="1681053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F34715-1314-474F-9589-1B57B7A5D719}"/>
              </a:ext>
            </a:extLst>
          </p:cNvPr>
          <p:cNvSpPr txBox="1"/>
          <p:nvPr/>
        </p:nvSpPr>
        <p:spPr>
          <a:xfrm>
            <a:off x="6641365" y="861968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rgbClr val="EB3C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/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597CA25B-165F-419C-900E-554630713415}"/>
              </a:ext>
            </a:extLst>
          </p:cNvPr>
          <p:cNvGrpSpPr/>
          <p:nvPr/>
        </p:nvGrpSpPr>
        <p:grpSpPr>
          <a:xfrm>
            <a:off x="49401" y="837128"/>
            <a:ext cx="3098923" cy="5183529"/>
            <a:chOff x="-2177423" y="1130348"/>
            <a:chExt cx="3098923" cy="5183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/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b="0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56FE7E-DDBB-4FDF-BC75-06687D5B2E35}"/>
                </a:ext>
              </a:extLst>
            </p:cNvPr>
            <p:cNvGrpSpPr/>
            <p:nvPr/>
          </p:nvGrpSpPr>
          <p:grpSpPr>
            <a:xfrm>
              <a:off x="-2177423" y="1130348"/>
              <a:ext cx="3098923" cy="5183529"/>
              <a:chOff x="-1600640" y="1100065"/>
              <a:chExt cx="3098923" cy="5183529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F027515E-C17D-49A9-A773-4F424FF146C8}"/>
                  </a:ext>
                </a:extLst>
              </p:cNvPr>
              <p:cNvGrpSpPr/>
              <p:nvPr/>
            </p:nvGrpSpPr>
            <p:grpSpPr>
              <a:xfrm>
                <a:off x="-1600640" y="1127030"/>
                <a:ext cx="1320230" cy="4568066"/>
                <a:chOff x="-463861" y="2313277"/>
                <a:chExt cx="1320230" cy="4568066"/>
              </a:xfrm>
            </p:grpSpPr>
            <p:sp>
              <p:nvSpPr>
                <p:cNvPr id="158" name="Ellipse 157">
                  <a:extLst>
                    <a:ext uri="{FF2B5EF4-FFF2-40B4-BE49-F238E27FC236}">
                      <a16:creationId xmlns:a16="http://schemas.microsoft.com/office/drawing/2014/main" id="{CCC32A58-0D88-496D-805A-9877AAC2E71A}"/>
                    </a:ext>
                  </a:extLst>
                </p:cNvPr>
                <p:cNvSpPr/>
                <p:nvPr/>
              </p:nvSpPr>
              <p:spPr bwMode="gray">
                <a:xfrm>
                  <a:off x="-463861" y="4128415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69580902-7DBC-4E1F-8B9C-A70BBBA31E6B}"/>
                    </a:ext>
                  </a:extLst>
                </p:cNvPr>
                <p:cNvSpPr/>
                <p:nvPr/>
              </p:nvSpPr>
              <p:spPr bwMode="gray">
                <a:xfrm>
                  <a:off x="-323964" y="6249392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5622CEC1-8C5B-4BD1-8712-CA8FB5BBAA16}"/>
                    </a:ext>
                  </a:extLst>
                </p:cNvPr>
                <p:cNvSpPr txBox="1"/>
                <p:nvPr/>
              </p:nvSpPr>
              <p:spPr bwMode="gray">
                <a:xfrm>
                  <a:off x="-311075" y="2313277"/>
                  <a:ext cx="1167444" cy="15388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eripheral</a:t>
                  </a:r>
                  <a:r>
                    <a:rPr lang="de-DE" sz="1000" dirty="0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</a:t>
                  </a: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space</a:t>
                  </a:r>
                  <a:endParaRPr lang="de-DE" sz="1000" dirty="0">
                    <a:solidFill>
                      <a:schemeClr val="accent2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161" name="Gruppieren 160">
                <a:extLst>
                  <a:ext uri="{FF2B5EF4-FFF2-40B4-BE49-F238E27FC236}">
                    <a16:creationId xmlns:a16="http://schemas.microsoft.com/office/drawing/2014/main" id="{34B8E7D9-98A2-4370-BC99-F28CB1FF1744}"/>
                  </a:ext>
                </a:extLst>
              </p:cNvPr>
              <p:cNvGrpSpPr/>
              <p:nvPr/>
            </p:nvGrpSpPr>
            <p:grpSpPr>
              <a:xfrm>
                <a:off x="-934551" y="1100065"/>
                <a:ext cx="2432834" cy="4582667"/>
                <a:chOff x="-844126" y="2299572"/>
                <a:chExt cx="2432834" cy="4582667"/>
              </a:xfrm>
            </p:grpSpPr>
            <p:sp>
              <p:nvSpPr>
                <p:cNvPr id="169" name="Ellipse 168">
                  <a:extLst>
                    <a:ext uri="{FF2B5EF4-FFF2-40B4-BE49-F238E27FC236}">
                      <a16:creationId xmlns:a16="http://schemas.microsoft.com/office/drawing/2014/main" id="{6092DB94-236D-4B91-AE57-2367C6818846}"/>
                    </a:ext>
                  </a:extLst>
                </p:cNvPr>
                <p:cNvSpPr/>
                <p:nvPr/>
              </p:nvSpPr>
              <p:spPr bwMode="gray">
                <a:xfrm>
                  <a:off x="-844126" y="3039863"/>
                  <a:ext cx="1995072" cy="145295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64" name="Ellipse 163">
                  <a:extLst>
                    <a:ext uri="{FF2B5EF4-FFF2-40B4-BE49-F238E27FC236}">
                      <a16:creationId xmlns:a16="http://schemas.microsoft.com/office/drawing/2014/main" id="{3D64C792-1F02-40CD-A804-1105EAF2B357}"/>
                    </a:ext>
                  </a:extLst>
                </p:cNvPr>
                <p:cNvSpPr/>
                <p:nvPr/>
              </p:nvSpPr>
              <p:spPr bwMode="gray">
                <a:xfrm>
                  <a:off x="-41973" y="6250288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88671C54-2270-482E-B8F8-CC1C8D0B0A1A}"/>
                    </a:ext>
                  </a:extLst>
                </p:cNvPr>
                <p:cNvSpPr txBox="1"/>
                <p:nvPr/>
              </p:nvSpPr>
              <p:spPr bwMode="gray">
                <a:xfrm>
                  <a:off x="-24818" y="2299572"/>
                  <a:ext cx="1613526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entral </a:t>
                  </a:r>
                  <a:r>
                    <a:rPr lang="de-DE" sz="1000" dirty="0" err="1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ompartment</a:t>
                  </a: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(Plasma)</a:t>
                  </a:r>
                </a:p>
              </p:txBody>
            </p:sp>
          </p:grpSp>
          <p:cxnSp>
            <p:nvCxnSpPr>
              <p:cNvPr id="173" name="Gerade Verbindung mit Pfeil 172">
                <a:extLst>
                  <a:ext uri="{FF2B5EF4-FFF2-40B4-BE49-F238E27FC236}">
                    <a16:creationId xmlns:a16="http://schemas.microsoft.com/office/drawing/2014/main" id="{D210E67F-46B9-4939-AAB3-D508BCD57C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783856" y="5380921"/>
                <a:ext cx="550017" cy="243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/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blipFill>
                    <a:blip r:embed="rId7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3" name="Gerade Verbindung mit Pfeil 182">
                <a:extLst>
                  <a:ext uri="{FF2B5EF4-FFF2-40B4-BE49-F238E27FC236}">
                    <a16:creationId xmlns:a16="http://schemas.microsoft.com/office/drawing/2014/main" id="{CF3CB4B7-A1FB-4EFF-8047-8A30A3C06F53}"/>
                  </a:ext>
                </a:extLst>
              </p:cNvPr>
              <p:cNvCxnSpPr>
                <a:cxnSpLocks/>
                <a:stCxn id="436" idx="0"/>
                <a:endCxn id="439" idx="2"/>
              </p:cNvCxnSpPr>
              <p:nvPr/>
            </p:nvCxnSpPr>
            <p:spPr>
              <a:xfrm flipH="1" flipV="1">
                <a:off x="112510" y="3182465"/>
                <a:ext cx="46814" cy="19558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/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blipFill>
                    <a:blip r:embed="rId7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/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̅"/>
                              <m:ctrlPr>
                                <a:rPr lang="en-US" sz="65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65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oMath>
                      </m:oMathPara>
                    </a14:m>
                    <a:endParaRPr lang="de-DE" sz="650" dirty="0">
                      <a:solidFill>
                        <a:srgbClr val="00B0F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blipFill>
                    <a:blip r:embed="rId8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8" name="Gerade Verbindung mit Pfeil 187">
                <a:extLst>
                  <a:ext uri="{FF2B5EF4-FFF2-40B4-BE49-F238E27FC236}">
                    <a16:creationId xmlns:a16="http://schemas.microsoft.com/office/drawing/2014/main" id="{81F75526-ED57-4AEB-A0C9-52F8174B5A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1081785" y="3109821"/>
                <a:ext cx="847946" cy="72644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/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blipFill>
                    <a:blip r:embed="rId8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45" name="Verbinder: gekrümmt 44">
                <a:extLst>
                  <a:ext uri="{FF2B5EF4-FFF2-40B4-BE49-F238E27FC236}">
                    <a16:creationId xmlns:a16="http://schemas.microsoft.com/office/drawing/2014/main" id="{2C5B63DC-249F-43DA-9E18-C34B4FAA5D50}"/>
                  </a:ext>
                </a:extLst>
              </p:cNvPr>
              <p:cNvCxnSpPr>
                <a:cxnSpLocks/>
                <a:stCxn id="192" idx="0"/>
                <a:endCxn id="164" idx="4"/>
              </p:cNvCxnSpPr>
              <p:nvPr/>
            </p:nvCxnSpPr>
            <p:spPr>
              <a:xfrm rot="5400000" flipH="1" flipV="1">
                <a:off x="-264512" y="5535026"/>
                <a:ext cx="310013" cy="605426"/>
              </a:xfrm>
              <a:prstGeom prst="curvedConnector3">
                <a:avLst>
                  <a:gd name="adj1" fmla="val 50000"/>
                </a:avLst>
              </a:prstGeom>
              <a:ln w="9525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261C1492-26DC-49E0-A403-2DE39A998CF1}"/>
                  </a:ext>
                </a:extLst>
              </p:cNvPr>
              <p:cNvSpPr txBox="1"/>
              <p:nvPr/>
            </p:nvSpPr>
            <p:spPr bwMode="gray">
              <a:xfrm>
                <a:off x="-908194" y="5992745"/>
                <a:ext cx="991950" cy="2908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de-DE" sz="1000" dirty="0" err="1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jection</a:t>
                </a:r>
                <a:r>
                  <a:rPr lang="de-DE" sz="100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de-DE" sz="890" dirty="0">
                    <a:solidFill>
                      <a:srgbClr val="2DBECD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se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</p:txBody>
          </p: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D99389-1696-088E-D20C-8B4068C1C65D}"/>
              </a:ext>
            </a:extLst>
          </p:cNvPr>
          <p:cNvGrpSpPr/>
          <p:nvPr/>
        </p:nvGrpSpPr>
        <p:grpSpPr>
          <a:xfrm>
            <a:off x="3007024" y="687323"/>
            <a:ext cx="2945959" cy="5804068"/>
            <a:chOff x="2307551" y="-258046"/>
            <a:chExt cx="2945959" cy="6321837"/>
          </a:xfrm>
        </p:grpSpPr>
        <p:sp>
          <p:nvSpPr>
            <p:cNvPr id="196" name="Bogen 195">
              <a:extLst>
                <a:ext uri="{FF2B5EF4-FFF2-40B4-BE49-F238E27FC236}">
                  <a16:creationId xmlns:a16="http://schemas.microsoft.com/office/drawing/2014/main" id="{01DE2E84-46D1-4253-A25B-D51FA598B866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55AA026-0EF5-0C3C-8EDB-07DF472F08EF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47" name="Bogen 46">
                <a:extLst>
                  <a:ext uri="{FF2B5EF4-FFF2-40B4-BE49-F238E27FC236}">
                    <a16:creationId xmlns:a16="http://schemas.microsoft.com/office/drawing/2014/main" id="{5009A68D-7EB7-4CE4-9CAE-195219E61D83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8" name="Bogen 197">
                <a:extLst>
                  <a:ext uri="{FF2B5EF4-FFF2-40B4-BE49-F238E27FC236}">
                    <a16:creationId xmlns:a16="http://schemas.microsoft.com/office/drawing/2014/main" id="{965ABE6B-6740-4BCD-8829-3A4FA68C71E5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13830569-0F61-4A9C-B2C1-18C61C558764}"/>
              </a:ext>
            </a:extLst>
          </p:cNvPr>
          <p:cNvCxnSpPr>
            <a:cxnSpLocks/>
          </p:cNvCxnSpPr>
          <p:nvPr/>
        </p:nvCxnSpPr>
        <p:spPr>
          <a:xfrm flipH="1" flipV="1">
            <a:off x="1993954" y="5103819"/>
            <a:ext cx="1703249" cy="353102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2417F3B2-132A-46D8-B9A0-3AEE95FB3091}"/>
              </a:ext>
            </a:extLst>
          </p:cNvPr>
          <p:cNvCxnSpPr>
            <a:cxnSpLocks/>
          </p:cNvCxnSpPr>
          <p:nvPr/>
        </p:nvCxnSpPr>
        <p:spPr>
          <a:xfrm flipV="1">
            <a:off x="1973271" y="2743798"/>
            <a:ext cx="1517577" cy="48963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457C99-A208-4620-B493-432D9595315B}"/>
              </a:ext>
            </a:extLst>
          </p:cNvPr>
          <p:cNvGrpSpPr/>
          <p:nvPr/>
        </p:nvGrpSpPr>
        <p:grpSpPr>
          <a:xfrm flipH="1">
            <a:off x="9201952" y="633680"/>
            <a:ext cx="2945959" cy="5963064"/>
            <a:chOff x="-1906795" y="391820"/>
            <a:chExt cx="2945959" cy="6321837"/>
          </a:xfrm>
        </p:grpSpPr>
        <p:sp>
          <p:nvSpPr>
            <p:cNvPr id="209" name="Bogen 208">
              <a:extLst>
                <a:ext uri="{FF2B5EF4-FFF2-40B4-BE49-F238E27FC236}">
                  <a16:creationId xmlns:a16="http://schemas.microsoft.com/office/drawing/2014/main" id="{620FC215-F93B-4206-8695-1E066CF9C788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2" name="Bogen 211">
              <a:extLst>
                <a:ext uri="{FF2B5EF4-FFF2-40B4-BE49-F238E27FC236}">
                  <a16:creationId xmlns:a16="http://schemas.microsoft.com/office/drawing/2014/main" id="{E1DA8E1D-0835-4DD0-89AB-E3995E24DB8E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A9EFC4DA-63A6-4524-B8AF-368E83CE5121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27876E44-6E1F-4C50-973C-34B9E8E33DD6}"/>
              </a:ext>
            </a:extLst>
          </p:cNvPr>
          <p:cNvCxnSpPr>
            <a:cxnSpLocks/>
          </p:cNvCxnSpPr>
          <p:nvPr/>
        </p:nvCxnSpPr>
        <p:spPr>
          <a:xfrm flipH="1" flipV="1">
            <a:off x="206826" y="1526375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/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blipFill>
                <a:blip r:embed="rId8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6CC52E43-04C7-436C-A537-A043B850BB23}"/>
              </a:ext>
            </a:extLst>
          </p:cNvPr>
          <p:cNvCxnSpPr>
            <a:cxnSpLocks/>
            <a:stCxn id="437" idx="2"/>
          </p:cNvCxnSpPr>
          <p:nvPr/>
        </p:nvCxnSpPr>
        <p:spPr>
          <a:xfrm flipH="1">
            <a:off x="1752350" y="1826653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/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blipFill>
                <a:blip r:embed="rId8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Bogen 92">
            <a:extLst>
              <a:ext uri="{FF2B5EF4-FFF2-40B4-BE49-F238E27FC236}">
                <a16:creationId xmlns:a16="http://schemas.microsoft.com/office/drawing/2014/main" id="{49385E82-09FC-4B89-959A-4374A2E4E1C9}"/>
              </a:ext>
            </a:extLst>
          </p:cNvPr>
          <p:cNvSpPr/>
          <p:nvPr/>
        </p:nvSpPr>
        <p:spPr>
          <a:xfrm rot="9341111">
            <a:off x="1401533" y="1063410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002ECF4-DC9C-4A0D-97D2-AFD75CE5B21F}"/>
              </a:ext>
            </a:extLst>
          </p:cNvPr>
          <p:cNvCxnSpPr>
            <a:cxnSpLocks/>
          </p:cNvCxnSpPr>
          <p:nvPr/>
        </p:nvCxnSpPr>
        <p:spPr>
          <a:xfrm flipH="1" flipV="1">
            <a:off x="1631050" y="2906866"/>
            <a:ext cx="52445" cy="1927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/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blipFill>
                <a:blip r:embed="rId8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/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blipFill>
                <a:blip r:embed="rId8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/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blipFill>
                <a:blip r:embed="rId8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/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blipFill>
                <a:blip r:embed="rId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/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blipFill>
                <a:blip r:embed="rId8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/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/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/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/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/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blipFill>
                <a:blip r:embed="rId1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/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65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65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/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blipFill>
                <a:blip r:embed="rId123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319C86A-645B-EDF7-C66D-723FC277B58A}"/>
              </a:ext>
            </a:extLst>
          </p:cNvPr>
          <p:cNvGrpSpPr/>
          <p:nvPr/>
        </p:nvGrpSpPr>
        <p:grpSpPr>
          <a:xfrm>
            <a:off x="2486813" y="1629143"/>
            <a:ext cx="9252189" cy="4630981"/>
            <a:chOff x="2812985" y="383798"/>
            <a:chExt cx="8040616" cy="3641807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8D39C10D-0C03-470C-8550-0B22D8628818}"/>
                </a:ext>
              </a:extLst>
            </p:cNvPr>
            <p:cNvSpPr/>
            <p:nvPr/>
          </p:nvSpPr>
          <p:spPr>
            <a:xfrm>
              <a:off x="5024936" y="619291"/>
              <a:ext cx="4917368" cy="3184415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463">
                <a:solidFill>
                  <a:srgbClr val="FFC000"/>
                </a:solidFill>
              </a:endParaRPr>
            </a:p>
          </p:txBody>
        </p:sp>
        <p:sp>
          <p:nvSpPr>
            <p:cNvPr id="3" name="Runde Klammer links/rechts 2">
              <a:extLst>
                <a:ext uri="{FF2B5EF4-FFF2-40B4-BE49-F238E27FC236}">
                  <a16:creationId xmlns:a16="http://schemas.microsoft.com/office/drawing/2014/main" id="{D14D5AE6-C1C4-4BBA-8F0E-25AD064FE1AA}"/>
                </a:ext>
              </a:extLst>
            </p:cNvPr>
            <p:cNvSpPr/>
            <p:nvPr/>
          </p:nvSpPr>
          <p:spPr>
            <a:xfrm>
              <a:off x="4942446" y="704112"/>
              <a:ext cx="5135691" cy="3085909"/>
            </a:xfrm>
            <a:prstGeom prst="bracketPair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63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/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p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blipFill>
                  <a:blip r:embed="rId1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/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𝑆𝐹</m:t>
                        </m:r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𝐶</m:t>
                            </m:r>
                          </m:e>
                          <m:sup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𝑇𝑢𝑚𝑜𝑟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blipFill>
                  <a:blip r:embed="rId1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2DD112FE-D28D-4D90-B677-A92DC30B0A34}"/>
                </a:ext>
              </a:extLst>
            </p:cNvPr>
            <p:cNvCxnSpPr>
              <a:cxnSpLocks/>
            </p:cNvCxnSpPr>
            <p:nvPr/>
          </p:nvCxnSpPr>
          <p:spPr>
            <a:xfrm>
              <a:off x="10091905" y="2278879"/>
              <a:ext cx="564712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80016280-8EAA-4E81-BE3D-A41FA2355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68307" y="1443422"/>
              <a:ext cx="131021" cy="182133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/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894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τ</m:t>
                        </m:r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blipFill>
                  <a:blip r:embed="rId1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/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𝑇𝑉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𝐼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+1)</m:t>
                        </m:r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blipFill>
                  <a:blip r:embed="rId1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/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/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blipFill>
                  <a:blip r:embed="rId1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/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blipFill>
                  <a:blip r:embed="rId1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/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blipFill>
                  <a:blip r:embed="rId1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8728EDEB-92F7-45E0-948A-D72E179975A8}"/>
                </a:ext>
              </a:extLst>
            </p:cNvPr>
            <p:cNvSpPr txBox="1"/>
            <p:nvPr/>
          </p:nvSpPr>
          <p:spPr bwMode="gray">
            <a:xfrm>
              <a:off x="6746756" y="383798"/>
              <a:ext cx="991950" cy="121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mor </a:t>
              </a:r>
              <a:r>
                <a:rPr lang="de-DE" sz="1000" dirty="0" err="1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ll</a:t>
              </a:r>
              <a:endPara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/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𝒂𝒈</m:t>
                            </m:r>
                          </m:sub>
                          <m:sup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</m:t>
                            </m:r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𝒍𝒍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blipFill>
                  <a:blip r:embed="rId1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/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650" i="1" dirty="0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𝐴𝑔</m:t>
                            </m:r>
                          </m:e>
                          <m:sup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𝐸𝑥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blipFill>
                  <a:blip r:embed="rId13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0D72AE9-55DB-453F-BC2C-E32F0A774EE3}"/>
                </a:ext>
              </a:extLst>
            </p:cNvPr>
            <p:cNvSpPr/>
            <p:nvPr/>
          </p:nvSpPr>
          <p:spPr>
            <a:xfrm>
              <a:off x="6202972" y="2098163"/>
              <a:ext cx="2404798" cy="1496113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/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blipFill>
                  <a:blip r:embed="rId13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/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blipFill>
                  <a:blip r:embed="rId13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/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blipFill>
                  <a:blip r:embed="rId13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5" name="Gerade Verbindung mit Pfeil 264">
              <a:extLst>
                <a:ext uri="{FF2B5EF4-FFF2-40B4-BE49-F238E27FC236}">
                  <a16:creationId xmlns:a16="http://schemas.microsoft.com/office/drawing/2014/main" id="{EE54EC1B-CDEB-402F-8EDC-62E62B77A037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flipV="1">
              <a:off x="6800976" y="2444332"/>
              <a:ext cx="611605" cy="3152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27E0E653-CCB9-4CAB-B99B-7C261A8BCA6D}"/>
                </a:ext>
              </a:extLst>
            </p:cNvPr>
            <p:cNvCxnSpPr>
              <a:cxnSpLocks/>
              <a:stCxn id="244" idx="2"/>
              <a:endCxn id="259" idx="0"/>
            </p:cNvCxnSpPr>
            <p:nvPr/>
          </p:nvCxnSpPr>
          <p:spPr>
            <a:xfrm flipH="1">
              <a:off x="7684890" y="1486395"/>
              <a:ext cx="42199" cy="74507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 Verbindung mit Pfeil 267">
              <a:extLst>
                <a:ext uri="{FF2B5EF4-FFF2-40B4-BE49-F238E27FC236}">
                  <a16:creationId xmlns:a16="http://schemas.microsoft.com/office/drawing/2014/main" id="{7BAB0460-9A16-4FA1-9ED3-573BDB2600BD}"/>
                </a:ext>
              </a:extLst>
            </p:cNvPr>
            <p:cNvCxnSpPr>
              <a:cxnSpLocks/>
              <a:endCxn id="244" idx="1"/>
            </p:cNvCxnSpPr>
            <p:nvPr/>
          </p:nvCxnSpPr>
          <p:spPr>
            <a:xfrm>
              <a:off x="4186003" y="1281130"/>
              <a:ext cx="3077402" cy="5195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1" name="Gerade Verbindung mit Pfeil 270">
              <a:extLst>
                <a:ext uri="{FF2B5EF4-FFF2-40B4-BE49-F238E27FC236}">
                  <a16:creationId xmlns:a16="http://schemas.microsoft.com/office/drawing/2014/main" id="{DEC50B85-21EF-448D-A439-141906C5F0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99393" y="1375618"/>
              <a:ext cx="325882" cy="46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/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/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blipFill>
                  <a:blip r:embed="rId13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49" name="Gerade Verbindung mit Pfeil 348">
              <a:extLst>
                <a:ext uri="{FF2B5EF4-FFF2-40B4-BE49-F238E27FC236}">
                  <a16:creationId xmlns:a16="http://schemas.microsoft.com/office/drawing/2014/main" id="{5E06E5BC-0080-44EB-814C-54619C85C4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5780" y="2087736"/>
              <a:ext cx="268566" cy="12114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/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blipFill>
                  <a:blip r:embed="rId13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/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blipFill>
                  <a:blip r:embed="rId13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/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blipFill>
                  <a:blip r:embed="rId14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/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𝑝𝑖𝑛𝑜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blipFill>
                  <a:blip r:embed="rId14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/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blipFill>
                  <a:blip r:embed="rId14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/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blipFill>
                  <a:blip r:embed="rId14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/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𝑑𝑒𝑔</m:t>
                            </m:r>
                          </m:sub>
                          <m:sup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/>
                </a:p>
              </p:txBody>
            </p:sp>
          </mc:Choice>
          <mc:Fallback xmlns="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blipFill>
                  <a:blip r:embed="rId14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/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blipFill>
                  <a:blip r:embed="rId14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/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blipFill>
                  <a:blip r:embed="rId14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/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blipFill>
                  <a:blip r:embed="rId14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/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𝒉𝒂𝒓𝒈𝒆𝒅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rgbClr val="FF0000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blipFill>
                  <a:blip r:embed="rId14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8E9662DD-7884-414F-820E-DBBEE8ED4CF1}"/>
                </a:ext>
              </a:extLst>
            </p:cNvPr>
            <p:cNvCxnSpPr>
              <a:cxnSpLocks/>
              <a:stCxn id="204" idx="0"/>
            </p:cNvCxnSpPr>
            <p:nvPr/>
          </p:nvCxnSpPr>
          <p:spPr>
            <a:xfrm flipV="1">
              <a:off x="3949888" y="810900"/>
              <a:ext cx="312919" cy="346116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/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94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𝑝𝐻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  <m:sup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sup>
                        </m:sSubSup>
                      </m:oMath>
                    </m:oMathPara>
                  </a14:m>
                  <a:endParaRPr lang="de-DE" sz="894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blipFill>
                  <a:blip r:embed="rId14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/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blipFill>
                  <a:blip r:embed="rId15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/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blipFill>
                  <a:blip r:embed="rId15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/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</m:sub>
                          <m:sup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𝑎𝑙𝑙</m:t>
                            </m:r>
                          </m:sup>
                        </m:sSubSup>
                      </m:oMath>
                    </m:oMathPara>
                  </a14:m>
                  <a:endParaRPr lang="de-DE" sz="810" dirty="0">
                    <a:solidFill>
                      <a:srgbClr val="0070C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blipFill>
                  <a:blip r:embed="rId15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84BF4AC-8118-4131-9FEC-F0B76F86C67C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86" y="2002087"/>
              <a:ext cx="1632929" cy="796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3DCE3758-7472-496A-95FF-E5532E249F0E}"/>
                </a:ext>
              </a:extLst>
            </p:cNvPr>
            <p:cNvCxnSpPr>
              <a:cxnSpLocks/>
              <a:endCxn id="257" idx="1"/>
            </p:cNvCxnSpPr>
            <p:nvPr/>
          </p:nvCxnSpPr>
          <p:spPr>
            <a:xfrm flipV="1">
              <a:off x="4308008" y="2912873"/>
              <a:ext cx="2059886" cy="4743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/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p>
                      </m:oMath>
                    </m:oMathPara>
                  </a14:m>
                  <a:endParaRPr lang="de-DE" sz="894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blipFill>
                  <a:blip r:embed="rId15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/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blipFill>
                  <a:blip r:embed="rId15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A7295E13-60FC-727D-AA8D-6E64C2AFA553}"/>
                </a:ext>
              </a:extLst>
            </p:cNvPr>
            <p:cNvCxnSpPr>
              <a:cxnSpLocks/>
            </p:cNvCxnSpPr>
            <p:nvPr/>
          </p:nvCxnSpPr>
          <p:spPr>
            <a:xfrm>
              <a:off x="7974008" y="1325198"/>
              <a:ext cx="943056" cy="28214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/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blipFill>
                  <a:blip r:embed="rId15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/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blipFill>
                  <a:blip r:embed="rId15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4B3F52C5-9546-8DD4-814C-9FBF9D47883F}"/>
              </a:ext>
            </a:extLst>
          </p:cNvPr>
          <p:cNvSpPr txBox="1">
            <a:spLocks/>
          </p:cNvSpPr>
          <p:nvPr/>
        </p:nvSpPr>
        <p:spPr>
          <a:xfrm>
            <a:off x="596200" y="101939"/>
            <a:ext cx="10944225" cy="325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/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blipFill>
                <a:blip r:embed="rId15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/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4064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90922" y="-206940"/>
                <a:ext cx="13298302" cy="7449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𝑑𝑒𝑐</m:t>
                              </m:r>
                            </m:sub>
                            <m:sup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fi-FI" sz="160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22" y="-206940"/>
                <a:ext cx="13298302" cy="7449860"/>
              </a:xfrm>
              <a:prstGeom prst="rect">
                <a:avLst/>
              </a:prstGeom>
              <a:blipFill>
                <a:blip r:embed="rId3"/>
                <a:stretch>
                  <a:fillRect l="-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432D489A-D6DC-ABD1-C5E0-F0B6A3D6B24E}"/>
              </a:ext>
            </a:extLst>
          </p:cNvPr>
          <p:cNvSpPr/>
          <p:nvPr/>
        </p:nvSpPr>
        <p:spPr>
          <a:xfrm rot="5400000">
            <a:off x="3185554" y="306117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DB341F6-7A90-55C0-B9E5-589918DAE7E0}"/>
              </a:ext>
            </a:extLst>
          </p:cNvPr>
          <p:cNvSpPr txBox="1"/>
          <p:nvPr/>
        </p:nvSpPr>
        <p:spPr>
          <a:xfrm>
            <a:off x="2396678" y="588232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9C27D06B-2C75-83D4-10BD-EC4A487F3CD1}"/>
              </a:ext>
            </a:extLst>
          </p:cNvPr>
          <p:cNvSpPr/>
          <p:nvPr/>
        </p:nvSpPr>
        <p:spPr>
          <a:xfrm rot="5400000">
            <a:off x="7498100" y="419233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70A6BC86-24E2-E45F-96FF-D206835EED08}"/>
              </a:ext>
            </a:extLst>
          </p:cNvPr>
          <p:cNvSpPr txBox="1"/>
          <p:nvPr/>
        </p:nvSpPr>
        <p:spPr>
          <a:xfrm>
            <a:off x="6570570" y="585565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  <p:sp>
        <p:nvSpPr>
          <p:cNvPr id="2" name="Right Brace 7">
            <a:extLst>
              <a:ext uri="{FF2B5EF4-FFF2-40B4-BE49-F238E27FC236}">
                <a16:creationId xmlns:a16="http://schemas.microsoft.com/office/drawing/2014/main" id="{55C8DD38-311B-CCE1-9F0A-186830772158}"/>
              </a:ext>
            </a:extLst>
          </p:cNvPr>
          <p:cNvSpPr/>
          <p:nvPr/>
        </p:nvSpPr>
        <p:spPr>
          <a:xfrm rot="5400000">
            <a:off x="8926147" y="1957793"/>
            <a:ext cx="309911" cy="20355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BA54CBFD-5865-FBD2-DFD0-4985092E5879}"/>
              </a:ext>
            </a:extLst>
          </p:cNvPr>
          <p:cNvSpPr txBox="1"/>
          <p:nvPr/>
        </p:nvSpPr>
        <p:spPr>
          <a:xfrm>
            <a:off x="8320417" y="3000404"/>
            <a:ext cx="4072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non-specific deconjugation of ADC</a:t>
            </a:r>
          </a:p>
        </p:txBody>
      </p:sp>
      <p:sp>
        <p:nvSpPr>
          <p:cNvPr id="21" name="Right Brace 8">
            <a:extLst>
              <a:ext uri="{FF2B5EF4-FFF2-40B4-BE49-F238E27FC236}">
                <a16:creationId xmlns:a16="http://schemas.microsoft.com/office/drawing/2014/main" id="{EF5E1997-5DF3-4CC1-DC99-C8603C8C56DC}"/>
              </a:ext>
            </a:extLst>
          </p:cNvPr>
          <p:cNvSpPr/>
          <p:nvPr/>
        </p:nvSpPr>
        <p:spPr>
          <a:xfrm rot="5400000">
            <a:off x="9811585" y="3100839"/>
            <a:ext cx="265090" cy="20788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E6B0B0E3-4988-C77A-19E7-B19F24A0FA5D}"/>
              </a:ext>
            </a:extLst>
          </p:cNvPr>
          <p:cNvSpPr txBox="1"/>
          <p:nvPr/>
        </p:nvSpPr>
        <p:spPr>
          <a:xfrm>
            <a:off x="9103578" y="4186745"/>
            <a:ext cx="1842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learance of ADC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61385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613854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F1C71063-EBBB-29B7-2A8A-8E0252EE7EE1}"/>
              </a:ext>
            </a:extLst>
          </p:cNvPr>
          <p:cNvSpPr/>
          <p:nvPr/>
        </p:nvSpPr>
        <p:spPr>
          <a:xfrm rot="5400000">
            <a:off x="3335047" y="167395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8988268-6541-3CC2-2D6A-983C40C5C7FB}"/>
              </a:ext>
            </a:extLst>
          </p:cNvPr>
          <p:cNvSpPr txBox="1"/>
          <p:nvPr/>
        </p:nvSpPr>
        <p:spPr>
          <a:xfrm>
            <a:off x="2546171" y="4495101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265414-4C04-0F99-72F4-346A18928765}"/>
              </a:ext>
            </a:extLst>
          </p:cNvPr>
          <p:cNvSpPr/>
          <p:nvPr/>
        </p:nvSpPr>
        <p:spPr>
          <a:xfrm rot="5400000">
            <a:off x="7647593" y="2805110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BD8393C9-2147-42B2-0902-B3F1B456C1BB}"/>
              </a:ext>
            </a:extLst>
          </p:cNvPr>
          <p:cNvSpPr txBox="1"/>
          <p:nvPr/>
        </p:nvSpPr>
        <p:spPr>
          <a:xfrm>
            <a:off x="6720063" y="4468437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0310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DC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624553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624553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043765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21017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46834" y="37980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9206689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23267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2326727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03064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2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2349304" y="2158014"/>
            <a:ext cx="281186" cy="30103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1607958" y="3804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5025159" y="263143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4090991" y="378306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5234810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5902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1 Metabolite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819839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6749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67492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5902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2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07865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5965159" cy="37083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5965159" cy="370832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and 1 Metabolite1 in peripheral compartment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86095" y="1661928"/>
            <a:ext cx="263458" cy="32687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409975" y="344992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790451" y="227640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856283" y="342802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41059302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602658" y="1253670"/>
                <a:ext cx="10540532" cy="4245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800" b="0" dirty="0"/>
              </a:p>
              <a:p>
                <a:endParaRPr lang="de-DE" sz="1800" dirty="0"/>
              </a:p>
              <a:p>
                <a:endParaRPr lang="de-DE" dirty="0"/>
              </a:p>
              <a:p>
                <a:endParaRPr lang="de-DE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sz="18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800" dirty="0">
                  <a:highlight>
                    <a:srgbClr val="FFFF00"/>
                  </a:highlight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2658" y="1253670"/>
                <a:ext cx="10540532" cy="424532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0F32B80F-F0F6-6648-9D7C-519B979E560E}"/>
              </a:ext>
            </a:extLst>
          </p:cNvPr>
          <p:cNvSpPr/>
          <p:nvPr/>
        </p:nvSpPr>
        <p:spPr>
          <a:xfrm rot="5400000">
            <a:off x="4591567" y="116326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BC3F5-6278-142B-135F-643C2BE9A8C9}"/>
              </a:ext>
            </a:extLst>
          </p:cNvPr>
          <p:cNvSpPr txBox="1"/>
          <p:nvPr/>
        </p:nvSpPr>
        <p:spPr>
          <a:xfrm>
            <a:off x="3802691" y="398441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EE509C8A-76A3-C5D0-5B40-16219CE037D9}"/>
              </a:ext>
            </a:extLst>
          </p:cNvPr>
          <p:cNvSpPr/>
          <p:nvPr/>
        </p:nvSpPr>
        <p:spPr>
          <a:xfrm rot="5400000">
            <a:off x="8904113" y="229442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2A67AB02-CB22-5B8B-634C-F40F73C3A4CE}"/>
              </a:ext>
            </a:extLst>
          </p:cNvPr>
          <p:cNvSpPr txBox="1"/>
          <p:nvPr/>
        </p:nvSpPr>
        <p:spPr>
          <a:xfrm>
            <a:off x="7976583" y="395774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62525" y="545438"/>
                <a:ext cx="13481146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525" y="545438"/>
                <a:ext cx="13481146" cy="5123454"/>
              </a:xfrm>
              <a:prstGeom prst="rect">
                <a:avLst/>
              </a:prstGeom>
              <a:blipFill>
                <a:blip r:embed="rId3"/>
                <a:stretch>
                  <a:fillRect l="-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7914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DC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632854" y="-783597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795938" y="1538155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599647" y="1860026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1930832" y="38911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269681" y="2205938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6665191" y="381293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022328" y="3286905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686315" y="5301677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819622" y="4331505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133975" y="5239236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494921" y="3335153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6710386" y="524570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441352" y="409914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507184" y="525077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12" name="Right Brace 20">
            <a:extLst>
              <a:ext uri="{FF2B5EF4-FFF2-40B4-BE49-F238E27FC236}">
                <a16:creationId xmlns:a16="http://schemas.microsoft.com/office/drawing/2014/main" id="{B9469E7C-7E8C-1498-3A26-892D3CE62C2E}"/>
              </a:ext>
            </a:extLst>
          </p:cNvPr>
          <p:cNvSpPr/>
          <p:nvPr/>
        </p:nvSpPr>
        <p:spPr>
          <a:xfrm rot="5400000">
            <a:off x="7752726" y="-7421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21">
            <a:extLst>
              <a:ext uri="{FF2B5EF4-FFF2-40B4-BE49-F238E27FC236}">
                <a16:creationId xmlns:a16="http://schemas.microsoft.com/office/drawing/2014/main" id="{753598B0-B89D-C3EE-07A9-5994933A0A06}"/>
              </a:ext>
            </a:extLst>
          </p:cNvPr>
          <p:cNvSpPr txBox="1"/>
          <p:nvPr/>
        </p:nvSpPr>
        <p:spPr>
          <a:xfrm>
            <a:off x="6226935" y="1532786"/>
            <a:ext cx="43836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DC to receptors on tumor cell</a:t>
            </a:r>
          </a:p>
        </p:txBody>
      </p:sp>
    </p:spTree>
    <p:extLst>
      <p:ext uri="{BB962C8B-B14F-4D97-AF65-F5344CB8AC3E}">
        <p14:creationId xmlns:p14="http://schemas.microsoft.com/office/powerpoint/2010/main" val="45672838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63987" cy="6404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63987" cy="6404830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12925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</a:t>
            </a:r>
            <a:r>
              <a:rPr lang="en-US" dirty="0" err="1"/>
              <a:t>Protac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727538" y="3311823"/>
            <a:ext cx="287662" cy="3404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3742" y="513769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402985" y="4098345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591737" y="5112068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7604611" y="2777779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127976" y="5117481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851394" y="5334675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51001" y="625586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3465803" y="4402227"/>
            <a:ext cx="287662" cy="35109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376775" y="628998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6346564" y="516247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5412396" y="631410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158120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63987" cy="52889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63987" cy="5288948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21902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2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1731676" y="3373665"/>
            <a:ext cx="287662" cy="34490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992958" y="5199760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4343192" y="4253677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3642799" y="5174867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1562457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24736" y="633715"/>
                <a:ext cx="16942659" cy="55693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𝐷𝐶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736" y="633715"/>
                <a:ext cx="16942659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Metabolite1 in tumor extracellular space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385640" y="3221052"/>
            <a:ext cx="287662" cy="37046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1853926" y="5173563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5369592" y="40691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4435424" y="522081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9190829" y="2325279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423695" y="519258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369241" y="4449856"/>
            <a:ext cx="287662" cy="36814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7356595" y="525791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422427" y="64095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324842068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24736" y="633715"/>
                <a:ext cx="16942659" cy="44528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𝐷𝐶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736" y="633715"/>
                <a:ext cx="16942659" cy="44528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2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62454" y="3122384"/>
            <a:ext cx="287662" cy="416309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571753" y="530302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593287" y="41405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659119" y="52921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41807521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7623351" cy="56212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7623351" cy="562121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</a:t>
            </a:r>
            <a:r>
              <a:rPr lang="en-US" dirty="0" err="1"/>
              <a:t>Protac</a:t>
            </a:r>
            <a:r>
              <a:rPr lang="en-US" dirty="0"/>
              <a:t> and 1 Metabolite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73024" y="3538295"/>
            <a:ext cx="287662" cy="40025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785010" y="559213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534514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600347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2411473" y="4798179"/>
            <a:ext cx="287662" cy="34618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1558142" y="661804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5408524" y="547537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4585193" y="662871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939182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223079" y="444771"/>
                <a:ext cx="12151891" cy="63125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079" y="444771"/>
                <a:ext cx="12151891" cy="6312562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531284" y="2967802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1862469" y="499892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201318" y="3313714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6596828" y="4920715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953965" y="4394681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617952" y="6409453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751259" y="5439281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065612" y="6347012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426558" y="4442929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6642023" y="635348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372989" y="52069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438821" y="63585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17333" cy="64075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17333" cy="6407523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64180" y="2875180"/>
            <a:ext cx="287662" cy="42777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3742" y="513769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258157" y="4121237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446909" y="513496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8459783" y="2800671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983148" y="5140373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851394" y="5334675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51001" y="625586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3824955" y="4043074"/>
            <a:ext cx="287662" cy="42292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376775" y="628998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7107741" y="514342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6173573" y="629505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2" y="635446"/>
                <a:ext cx="12129322" cy="55871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635446"/>
                <a:ext cx="12129322" cy="5587107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347341" y="-734032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510425" y="1587720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84704" y="2483504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58685" y="511423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72270" y="3446949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67780" y="505395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575614" y="4766820"/>
            <a:ext cx="287662" cy="3136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864000" y="6466962"/>
            <a:ext cx="178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222056" y="531096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287888" y="646259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6794534" cy="55693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6794534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963704" y="2642988"/>
            <a:ext cx="287662" cy="48607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390114" y="5182689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585538" y="406308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51370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0406775" y="2319167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9639641" y="518647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895898" y="3923199"/>
            <a:ext cx="287662" cy="47347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8431426" y="527629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497258" y="642791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r="-1064"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 r="-21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 r="-21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5"/>
                <a:stretch>
                  <a:fillRect r="-74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6"/>
                <a:stretch>
                  <a:fillRect r="-74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7"/>
                <a:stretch>
                  <a:fillRect r="-3617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887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6821464" cy="57198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6821464" cy="5719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33431" y="4531381"/>
            <a:ext cx="287662" cy="35764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045289" y="64519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199673" y="528992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265505" y="64415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7197208" cy="6196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7197208" cy="619650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270494" y="2027347"/>
            <a:ext cx="287662" cy="511794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7021247" y="3548657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6218703" y="4720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504864" y="2645870"/>
            <a:ext cx="287662" cy="60579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27312" y="57824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26208" y="463360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692040" y="57852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1414957" y="2981946"/>
            <a:ext cx="287662" cy="53318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10386672" y="5772293"/>
            <a:ext cx="2159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914945" y="3803736"/>
            <a:ext cx="287662" cy="59386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997973" y="575779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9174642" y="691114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7197208" cy="5635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7197208" cy="56353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478925" y="2432394"/>
            <a:ext cx="287662" cy="6214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23185" y="564714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42209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08042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562120" y="3647532"/>
            <a:ext cx="287662" cy="57631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598442" y="54994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775111" y="66527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62103" y="435450"/>
                <a:ext cx="14857545" cy="81070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𝑑𝑒𝑐</m:t>
                              </m:r>
                            </m:sub>
                            <m:sup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𝑐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𝑒𝑥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num>
                        <m:den>
                          <m:sSup>
                            <m:sSupPr>
                              <m:ctrlPr>
                                <a:rPr lang="fi-FI" sz="160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03" y="435450"/>
                <a:ext cx="14857545" cy="81070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326739" y="-1744044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367216" y="1510598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From central space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7020172" y="2413506"/>
            <a:ext cx="278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lux of drug from the cel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8114383" y="492325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3190892" y="1299976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185416" y="1118043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705607" y="3495180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1041753" y="4551088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5470466" y="250013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4831566" y="3376513"/>
            <a:ext cx="14035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 metabolism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79A16316-1D75-5B90-8C99-6FDB942078AC}"/>
              </a:ext>
            </a:extLst>
          </p:cNvPr>
          <p:cNvSpPr/>
          <p:nvPr/>
        </p:nvSpPr>
        <p:spPr>
          <a:xfrm rot="5400000">
            <a:off x="9237098" y="1905549"/>
            <a:ext cx="287662" cy="5142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52FF7DB-FDE1-0459-2F53-6ED06D2628F3}"/>
              </a:ext>
            </a:extLst>
          </p:cNvPr>
          <p:cNvSpPr txBox="1"/>
          <p:nvPr/>
        </p:nvSpPr>
        <p:spPr>
          <a:xfrm>
            <a:off x="8565007" y="4609909"/>
            <a:ext cx="2808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7" name="Right Brace 11">
            <a:extLst>
              <a:ext uri="{FF2B5EF4-FFF2-40B4-BE49-F238E27FC236}">
                <a16:creationId xmlns:a16="http://schemas.microsoft.com/office/drawing/2014/main" id="{C5D1A2B7-55E8-A965-691E-AAC9BE917EDF}"/>
              </a:ext>
            </a:extLst>
          </p:cNvPr>
          <p:cNvSpPr/>
          <p:nvPr/>
        </p:nvSpPr>
        <p:spPr>
          <a:xfrm rot="5400000">
            <a:off x="2101519" y="3680815"/>
            <a:ext cx="283128" cy="34891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F6066DBC-B985-A79F-D50C-3CFCD979A922}"/>
              </a:ext>
            </a:extLst>
          </p:cNvPr>
          <p:cNvSpPr txBox="1"/>
          <p:nvPr/>
        </p:nvSpPr>
        <p:spPr>
          <a:xfrm>
            <a:off x="973076" y="5545055"/>
            <a:ext cx="3163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9" name="Right Brace 11">
            <a:extLst>
              <a:ext uri="{FF2B5EF4-FFF2-40B4-BE49-F238E27FC236}">
                <a16:creationId xmlns:a16="http://schemas.microsoft.com/office/drawing/2014/main" id="{27152F6E-4F27-664C-B7C2-A34FCE0EF6A1}"/>
              </a:ext>
            </a:extLst>
          </p:cNvPr>
          <p:cNvSpPr/>
          <p:nvPr/>
        </p:nvSpPr>
        <p:spPr>
          <a:xfrm rot="5400000">
            <a:off x="7730169" y="1959105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73C965C-AE6A-4255-0069-D6C209798F31}"/>
              </a:ext>
            </a:extLst>
          </p:cNvPr>
          <p:cNvSpPr txBox="1"/>
          <p:nvPr/>
        </p:nvSpPr>
        <p:spPr>
          <a:xfrm>
            <a:off x="5587506" y="5545054"/>
            <a:ext cx="60243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1078FC23-B44D-FA28-2D88-B7FC69165597}"/>
              </a:ext>
            </a:extLst>
          </p:cNvPr>
          <p:cNvSpPr/>
          <p:nvPr/>
        </p:nvSpPr>
        <p:spPr>
          <a:xfrm rot="5400000">
            <a:off x="3092336" y="4580490"/>
            <a:ext cx="283128" cy="36339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2FC50FE-04B2-58AD-0220-D75273928553}"/>
              </a:ext>
            </a:extLst>
          </p:cNvPr>
          <p:cNvSpPr txBox="1"/>
          <p:nvPr/>
        </p:nvSpPr>
        <p:spPr>
          <a:xfrm>
            <a:off x="643813" y="6517120"/>
            <a:ext cx="5840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  <p:sp>
        <p:nvSpPr>
          <p:cNvPr id="16" name="TextBox 26">
            <a:extLst>
              <a:ext uri="{FF2B5EF4-FFF2-40B4-BE49-F238E27FC236}">
                <a16:creationId xmlns:a16="http://schemas.microsoft.com/office/drawing/2014/main" id="{6CCDCB40-FBB7-0D70-4E66-2841BA4C7478}"/>
              </a:ext>
            </a:extLst>
          </p:cNvPr>
          <p:cNvSpPr txBox="1"/>
          <p:nvPr/>
        </p:nvSpPr>
        <p:spPr>
          <a:xfrm>
            <a:off x="7215939" y="3351000"/>
            <a:ext cx="3927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rom non-specific deconjugation </a:t>
            </a:r>
            <a:r>
              <a:rPr lang="en-US" dirty="0"/>
              <a:t>of ADC</a:t>
            </a:r>
          </a:p>
        </p:txBody>
      </p:sp>
      <p:sp>
        <p:nvSpPr>
          <p:cNvPr id="17" name="Right Brace 27">
            <a:extLst>
              <a:ext uri="{FF2B5EF4-FFF2-40B4-BE49-F238E27FC236}">
                <a16:creationId xmlns:a16="http://schemas.microsoft.com/office/drawing/2014/main" id="{3D2017A3-23C6-C554-D966-EADD77862930}"/>
              </a:ext>
            </a:extLst>
          </p:cNvPr>
          <p:cNvSpPr/>
          <p:nvPr/>
        </p:nvSpPr>
        <p:spPr>
          <a:xfrm rot="5400000">
            <a:off x="8803322" y="1811625"/>
            <a:ext cx="149669" cy="29237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29">
            <a:extLst>
              <a:ext uri="{FF2B5EF4-FFF2-40B4-BE49-F238E27FC236}">
                <a16:creationId xmlns:a16="http://schemas.microsoft.com/office/drawing/2014/main" id="{A61FF15A-42A3-0F0B-963C-B3E9EEB5467B}"/>
              </a:ext>
            </a:extLst>
          </p:cNvPr>
          <p:cNvSpPr txBox="1"/>
          <p:nvPr/>
        </p:nvSpPr>
        <p:spPr>
          <a:xfrm>
            <a:off x="1367641" y="2450996"/>
            <a:ext cx="3802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n-specific </a:t>
            </a:r>
            <a:r>
              <a:rPr lang="en-US" dirty="0" err="1"/>
              <a:t>deconj</a:t>
            </a:r>
            <a:r>
              <a:rPr lang="en-US" dirty="0"/>
              <a:t>. of ADC</a:t>
            </a:r>
          </a:p>
        </p:txBody>
      </p:sp>
      <p:sp>
        <p:nvSpPr>
          <p:cNvPr id="19" name="Right Brace 31">
            <a:extLst>
              <a:ext uri="{FF2B5EF4-FFF2-40B4-BE49-F238E27FC236}">
                <a16:creationId xmlns:a16="http://schemas.microsoft.com/office/drawing/2014/main" id="{29B2F650-540E-E85C-C890-314D6E54E3B6}"/>
              </a:ext>
            </a:extLst>
          </p:cNvPr>
          <p:cNvSpPr/>
          <p:nvPr/>
        </p:nvSpPr>
        <p:spPr>
          <a:xfrm rot="5400000">
            <a:off x="2710343" y="1195943"/>
            <a:ext cx="113010" cy="24905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421663" y="422759"/>
                <a:ext cx="11738979" cy="90626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663" y="422759"/>
                <a:ext cx="11738979" cy="906260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04864" y="-2245592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50339" y="1501539"/>
            <a:ext cx="1763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479493" y="51885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40593" y="1395233"/>
            <a:ext cx="1649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270127" y="2944698"/>
            <a:ext cx="344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24038" y="1064457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3167785" y="1495216"/>
            <a:ext cx="323615" cy="58158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46228" y="662671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566419" y="3039808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1301886" y="4399756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B15EBC2C-CF42-BFBE-8A55-E5A2E469E0EE}"/>
              </a:ext>
            </a:extLst>
          </p:cNvPr>
          <p:cNvSpPr/>
          <p:nvPr/>
        </p:nvSpPr>
        <p:spPr>
          <a:xfrm rot="5400000">
            <a:off x="8858790" y="174268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43D3AF8-7338-5460-2B5C-EAA4CF86443C}"/>
              </a:ext>
            </a:extLst>
          </p:cNvPr>
          <p:cNvSpPr txBox="1"/>
          <p:nvPr/>
        </p:nvSpPr>
        <p:spPr>
          <a:xfrm>
            <a:off x="8082772" y="4487640"/>
            <a:ext cx="305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7D0EEA75-AD47-A002-0F3A-490D03667F68}"/>
              </a:ext>
            </a:extLst>
          </p:cNvPr>
          <p:cNvSpPr/>
          <p:nvPr/>
        </p:nvSpPr>
        <p:spPr>
          <a:xfrm rot="5400000">
            <a:off x="2769898" y="3699437"/>
            <a:ext cx="283128" cy="35849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1919870-9526-EC08-B34E-74A6DDC249E2}"/>
              </a:ext>
            </a:extLst>
          </p:cNvPr>
          <p:cNvSpPr txBox="1"/>
          <p:nvPr/>
        </p:nvSpPr>
        <p:spPr>
          <a:xfrm>
            <a:off x="1593561" y="5515134"/>
            <a:ext cx="316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0F0DAD-0F67-C6BF-8D0B-333FE714E260}"/>
              </a:ext>
            </a:extLst>
          </p:cNvPr>
          <p:cNvSpPr/>
          <p:nvPr/>
        </p:nvSpPr>
        <p:spPr>
          <a:xfrm rot="5400000">
            <a:off x="8173746" y="2058268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3DCBEA43-879A-FE49-D94B-0E8A4BB487D3}"/>
              </a:ext>
            </a:extLst>
          </p:cNvPr>
          <p:cNvSpPr txBox="1"/>
          <p:nvPr/>
        </p:nvSpPr>
        <p:spPr>
          <a:xfrm>
            <a:off x="6031082" y="5547781"/>
            <a:ext cx="5672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6307E4AA-5DCE-3ECF-E31A-CD41A627E4AB}"/>
              </a:ext>
            </a:extLst>
          </p:cNvPr>
          <p:cNvSpPr/>
          <p:nvPr/>
        </p:nvSpPr>
        <p:spPr>
          <a:xfrm rot="5400000">
            <a:off x="3280002" y="4151365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F0D818F-E3B6-70C2-EF2E-6E05414B8C0B}"/>
              </a:ext>
            </a:extLst>
          </p:cNvPr>
          <p:cNvSpPr txBox="1"/>
          <p:nvPr/>
        </p:nvSpPr>
        <p:spPr>
          <a:xfrm>
            <a:off x="1004608" y="6595037"/>
            <a:ext cx="5815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9213" y="416389"/>
                <a:ext cx="14853783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3" y="416389"/>
                <a:ext cx="14853783" cy="5053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761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DC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92891572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3" y="83707"/>
                <a:ext cx="15026098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3" y="83707"/>
                <a:ext cx="15026098" cy="6172844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09939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</a:t>
            </a:r>
            <a:r>
              <a:rPr lang="en-US" dirty="0" err="1"/>
              <a:t>Protac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4607511" y="1880722"/>
            <a:ext cx="287662" cy="43838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7999859" y="304473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6993880" y="419676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071156" y="3142140"/>
            <a:ext cx="287662" cy="40025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5249541" y="41475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4296499" y="5249952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0668370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92934" y="469999"/>
                <a:ext cx="15078642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934" y="469999"/>
                <a:ext cx="15078642" cy="500496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189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2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709003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20558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48530782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5113882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5113882" cy="5136663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59953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Metabolite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278289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5113882" cy="39745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5113882" cy="3974550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7422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2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870824" y="3317098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582379" y="2270247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693787" y="2303027"/>
            <a:ext cx="287662" cy="43692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2093463" y="461454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6025698" y="347577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5091530" y="462739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303493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673" y="551196"/>
                <a:ext cx="15531780" cy="4823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73" y="551196"/>
                <a:ext cx="15531780" cy="4823885"/>
              </a:xfrm>
              <a:prstGeom prst="rect">
                <a:avLst/>
              </a:prstGeom>
              <a:blipFill>
                <a:blip r:embed="rId3"/>
                <a:stretch>
                  <a:fillRect l="-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6323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1 </a:t>
            </a:r>
            <a:r>
              <a:rPr lang="en-US" dirty="0" err="1"/>
              <a:t>Protac</a:t>
            </a:r>
            <a:r>
              <a:rPr lang="en-US" dirty="0"/>
              <a:t> and 1 Metabolite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6120370" y="324717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990754" y="220004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2457615" y="2106269"/>
            <a:ext cx="287662" cy="43030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5811895" y="3102136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4996649" y="4372685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2386178" y="3287511"/>
            <a:ext cx="287662" cy="41601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5727261" y="4209913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4785007" y="5482182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47384846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9213" y="416389"/>
                <a:ext cx="14657839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3" y="416389"/>
                <a:ext cx="14657839" cy="5053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4" y="83707"/>
                <a:ext cx="14708856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4" y="83707"/>
                <a:ext cx="14708856" cy="6172844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12517" y="1175716"/>
            <a:ext cx="287662" cy="57938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359246" y="30736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353267" y="4225729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504164" y="2709132"/>
            <a:ext cx="287662" cy="486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273573" y="412008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320531" y="5222508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92934" y="469999"/>
                <a:ext cx="14761401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934" y="469999"/>
                <a:ext cx="14761401" cy="500496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4964592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4964592" cy="5136663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80891" y="469999"/>
                <a:ext cx="14782774" cy="50825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891" y="469999"/>
                <a:ext cx="14782774" cy="50825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291087" y="2305312"/>
            <a:ext cx="287662" cy="4158755"/>
          </a:xfrm>
          <a:prstGeom prst="rightBrace">
            <a:avLst>
              <a:gd name="adj1" fmla="val 161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5448462" y="33812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4514294" y="4532892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17636"/>
                <a:ext cx="15207187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17636"/>
                <a:ext cx="15207187" cy="5937716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452761" y="1939690"/>
            <a:ext cx="287662" cy="60076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9166488" y="233830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8369432" y="497495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6011761" y="2972915"/>
            <a:ext cx="287662" cy="61571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10271695" y="50260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448364" y="6179439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674" y="551196"/>
                <a:ext cx="15083910" cy="4823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74" y="551196"/>
                <a:ext cx="15083910" cy="4823885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468271" y="1095613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877747" y="3121691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7062501" y="4392240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468271" y="2205417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875770" y="4254576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933516" y="552684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095376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79027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 err="1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tac</a:t>
            </a:r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200" dirty="0" err="1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A</a:t>
            </a:r>
            <a:endParaRPr lang="en-US" sz="2200" dirty="0">
              <a:solidFill>
                <a:srgbClr val="7030A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26415" y="59548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4130914" y="1882745"/>
            <a:ext cx="6681616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032876" y="1990604"/>
            <a:ext cx="6839420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7458140" y="5610864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8140" y="5610864"/>
                <a:ext cx="1085952" cy="23250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923713" y="2741060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713" y="2741060"/>
                <a:ext cx="846133" cy="262508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5404960" y="3354498"/>
            <a:ext cx="2995893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8447826" y="2184772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7826" y="2184772"/>
                <a:ext cx="936988" cy="306622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6870770" y="3507419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0770" y="3507419"/>
                <a:ext cx="933782" cy="306622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  <a:endCxn id="300" idx="0"/>
          </p:cNvCxnSpPr>
          <p:nvPr/>
        </p:nvCxnSpPr>
        <p:spPr>
          <a:xfrm flipH="1">
            <a:off x="7337661" y="2453493"/>
            <a:ext cx="1214501" cy="10539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stCxn id="293" idx="3"/>
            <a:endCxn id="298" idx="1"/>
          </p:cNvCxnSpPr>
          <p:nvPr/>
        </p:nvCxnSpPr>
        <p:spPr>
          <a:xfrm flipV="1">
            <a:off x="1769846" y="2338083"/>
            <a:ext cx="6677980" cy="53423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293408" y="2229780"/>
                <a:ext cx="807548" cy="278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93408" y="2229780"/>
                <a:ext cx="807548" cy="278025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600917" y="2275951"/>
                <a:ext cx="1118737" cy="27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0917" y="2275951"/>
                <a:ext cx="1118737" cy="274370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224525" y="2955143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24525" y="2955143"/>
                <a:ext cx="973832" cy="308125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 rot="3628762">
                <a:off x="5353972" y="3688528"/>
                <a:ext cx="973832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3628762">
                <a:off x="5353972" y="3688528"/>
                <a:ext cx="973832" cy="244747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7530054" y="4381308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0054" y="4381308"/>
                <a:ext cx="1085952" cy="232500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085485" y="4216686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85485" y="4216686"/>
                <a:ext cx="936988" cy="298800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291015" y="2690655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015" y="2690655"/>
                <a:ext cx="973832" cy="258276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889917" y="532059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917" y="5320598"/>
                <a:ext cx="846133" cy="246093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1959331" y="5826512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331" y="5826512"/>
                <a:ext cx="846133" cy="246093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5808512" y="5023501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8512" y="5023501"/>
                <a:ext cx="996680" cy="28982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6379523" y="529903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9523" y="5299039"/>
                <a:ext cx="996680" cy="289823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  <a:endCxn id="300" idx="2"/>
          </p:cNvCxnSpPr>
          <p:nvPr/>
        </p:nvCxnSpPr>
        <p:spPr>
          <a:xfrm flipV="1">
            <a:off x="6990160" y="3814041"/>
            <a:ext cx="347501" cy="14662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6502414" y="3782957"/>
            <a:ext cx="637764" cy="1240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1488609" y="5434691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137566" y="499854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7566" y="4998547"/>
                <a:ext cx="846133" cy="277384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5928429" y="5812748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8429" y="5812748"/>
                <a:ext cx="846133" cy="277384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1633156" y="5143698"/>
            <a:ext cx="2638756" cy="21502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</p:cNvCxnSpPr>
          <p:nvPr/>
        </p:nvCxnSpPr>
        <p:spPr>
          <a:xfrm flipV="1">
            <a:off x="2590250" y="5927964"/>
            <a:ext cx="3474430" cy="1049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4764195" y="5101177"/>
            <a:ext cx="1205206" cy="48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  <a:stCxn id="157" idx="3"/>
          </p:cNvCxnSpPr>
          <p:nvPr/>
        </p:nvCxnSpPr>
        <p:spPr>
          <a:xfrm flipV="1">
            <a:off x="1736050" y="5222953"/>
            <a:ext cx="4256799" cy="220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2563373" y="5497867"/>
            <a:ext cx="4004083" cy="358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442259" y="5542590"/>
            <a:ext cx="318041" cy="2596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4392589" y="488848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92589" y="4888480"/>
                <a:ext cx="351422" cy="192360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32004" y="593963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2004" y="5939638"/>
                <a:ext cx="351422" cy="192360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2450478" y="504516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0478" y="5045166"/>
                <a:ext cx="766726" cy="272126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2753162" y="59035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3162" y="5903595"/>
                <a:ext cx="766726" cy="272126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3127407" y="4943296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27407" y="4943296"/>
                <a:ext cx="807498" cy="298030"/>
              </a:xfrm>
              <a:prstGeom prst="rect">
                <a:avLst/>
              </a:prstGeom>
              <a:blipFill>
                <a:blip r:embed="rId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3433877" y="5909503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877" y="5909503"/>
                <a:ext cx="807498" cy="298030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2744101" y="539764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44101" y="5397642"/>
                <a:ext cx="828972" cy="297454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3751897" y="549468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1897" y="5494680"/>
                <a:ext cx="828972" cy="297454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170383" y="485808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0383" y="4858086"/>
                <a:ext cx="756989" cy="27251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6534759" y="5588620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4759" y="5588620"/>
                <a:ext cx="756989" cy="27251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1375687" y="5629352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5687" y="5629352"/>
                <a:ext cx="475548" cy="294953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1645501" y="575717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501" y="5757173"/>
                <a:ext cx="443822" cy="269048"/>
              </a:xfrm>
              <a:prstGeom prst="rect">
                <a:avLst/>
              </a:prstGeom>
              <a:blipFill>
                <a:blip r:embed="rId5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6099455" y="4580504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9455" y="4580504"/>
                <a:ext cx="1061533" cy="303071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6846442" y="4608275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46442" y="4608275"/>
                <a:ext cx="1061533" cy="30307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6597065" y="445921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7065" y="4459219"/>
                <a:ext cx="412221" cy="192360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7215452" y="444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5452" y="4440539"/>
                <a:ext cx="412221" cy="192360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4665007" y="5222605"/>
            <a:ext cx="1319357" cy="61527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4609500" y="532022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9500" y="5320220"/>
                <a:ext cx="475548" cy="294953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4876055" y="5465031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6055" y="5465031"/>
                <a:ext cx="443822" cy="269048"/>
              </a:xfrm>
              <a:prstGeom prst="rect">
                <a:avLst/>
              </a:prstGeom>
              <a:blipFill>
                <a:blip r:embed="rId5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1701063" y="3764575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1063" y="3764575"/>
                <a:ext cx="362270" cy="236155"/>
              </a:xfrm>
              <a:prstGeom prst="rect">
                <a:avLst/>
              </a:prstGeom>
              <a:blipFill>
                <a:blip r:embed="rId59"/>
                <a:stretch>
                  <a:fillRect r="-84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959512" y="4138189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9512" y="4138189"/>
                <a:ext cx="475548" cy="256480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2531794" y="333669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1794" y="3336697"/>
                <a:ext cx="475548" cy="256480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1346780" y="3003568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1525711" y="2973606"/>
            <a:ext cx="2901114" cy="206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  <a:endCxn id="158" idx="0"/>
          </p:cNvCxnSpPr>
          <p:nvPr/>
        </p:nvCxnSpPr>
        <p:spPr>
          <a:xfrm>
            <a:off x="1506559" y="3076125"/>
            <a:ext cx="875839" cy="2750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1590736" y="2898520"/>
            <a:ext cx="4505725" cy="293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2168082" y="3683289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8082" y="3683289"/>
                <a:ext cx="362270" cy="236155"/>
              </a:xfrm>
              <a:prstGeom prst="rect">
                <a:avLst/>
              </a:prstGeom>
              <a:blipFill>
                <a:blip r:embed="rId62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86933BF-9654-1305-542E-67B60F26C163}"/>
                  </a:ext>
                </a:extLst>
              </p:cNvPr>
              <p:cNvSpPr txBox="1"/>
              <p:nvPr/>
            </p:nvSpPr>
            <p:spPr>
              <a:xfrm>
                <a:off x="2398556" y="1636073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86933BF-9654-1305-542E-67B60F26C1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8556" y="1636073"/>
                <a:ext cx="993400" cy="266804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8BC9C91F-863B-4F53-4764-BFC98130828C}"/>
                  </a:ext>
                </a:extLst>
              </p:cNvPr>
              <p:cNvSpPr txBox="1"/>
              <p:nvPr/>
            </p:nvSpPr>
            <p:spPr>
              <a:xfrm>
                <a:off x="1046385" y="1718723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8BC9C91F-863B-4F53-4764-BFC981308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6385" y="1718723"/>
                <a:ext cx="993400" cy="266804"/>
              </a:xfrm>
              <a:prstGeom prst="rect">
                <a:avLst/>
              </a:prstGeom>
              <a:blipFill>
                <a:blip r:embed="rId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Textfeld 29">
            <a:extLst>
              <a:ext uri="{FF2B5EF4-FFF2-40B4-BE49-F238E27FC236}">
                <a16:creationId xmlns:a16="http://schemas.microsoft.com/office/drawing/2014/main" id="{5BD5B778-1F45-B038-FC9F-F8C9D19FE1B3}"/>
              </a:ext>
            </a:extLst>
          </p:cNvPr>
          <p:cNvSpPr txBox="1"/>
          <p:nvPr/>
        </p:nvSpPr>
        <p:spPr>
          <a:xfrm>
            <a:off x="2111577" y="1691942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0346C6CA-C168-E18F-5792-F0ACFFF3BA2A}"/>
                  </a:ext>
                </a:extLst>
              </p:cNvPr>
              <p:cNvSpPr txBox="1"/>
              <p:nvPr/>
            </p:nvSpPr>
            <p:spPr>
              <a:xfrm rot="18815401">
                <a:off x="1123934" y="2308112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0346C6CA-C168-E18F-5792-F0ACFFF3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815401">
                <a:off x="1123934" y="2308112"/>
                <a:ext cx="718212" cy="275204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7EB692B2-37F7-093C-EF49-3035442F6233}"/>
              </a:ext>
            </a:extLst>
          </p:cNvPr>
          <p:cNvCxnSpPr>
            <a:cxnSpLocks/>
            <a:endCxn id="30" idx="2"/>
          </p:cNvCxnSpPr>
          <p:nvPr/>
        </p:nvCxnSpPr>
        <p:spPr>
          <a:xfrm flipV="1">
            <a:off x="1362975" y="1938163"/>
            <a:ext cx="893033" cy="811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E04973F6-8025-F0FD-CE54-E49E4083DCB9}"/>
                  </a:ext>
                </a:extLst>
              </p:cNvPr>
              <p:cNvSpPr txBox="1"/>
              <p:nvPr/>
            </p:nvSpPr>
            <p:spPr>
              <a:xfrm>
                <a:off x="814961" y="4611094"/>
                <a:ext cx="573249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E04973F6-8025-F0FD-CE54-E49E4083DC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61" y="4611094"/>
                <a:ext cx="573249" cy="246221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E9A0EB03-B25A-1E2F-6703-D757B5FD71E6}"/>
                  </a:ext>
                </a:extLst>
              </p:cNvPr>
              <p:cNvSpPr txBox="1"/>
              <p:nvPr/>
            </p:nvSpPr>
            <p:spPr>
              <a:xfrm>
                <a:off x="3668345" y="3752680"/>
                <a:ext cx="573249" cy="2599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E9A0EB03-B25A-1E2F-6703-D757B5FD71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68345" y="3752680"/>
                <a:ext cx="573249" cy="25994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DB56A3C-1005-269C-E417-37DF146FCBF0}"/>
              </a:ext>
            </a:extLst>
          </p:cNvPr>
          <p:cNvCxnSpPr>
            <a:cxnSpLocks/>
          </p:cNvCxnSpPr>
          <p:nvPr/>
        </p:nvCxnSpPr>
        <p:spPr>
          <a:xfrm flipV="1">
            <a:off x="1227675" y="3915565"/>
            <a:ext cx="2551515" cy="72637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79963416-83B7-6671-3216-A21798934D8C}"/>
                  </a:ext>
                </a:extLst>
              </p:cNvPr>
              <p:cNvSpPr txBox="1"/>
              <p:nvPr/>
            </p:nvSpPr>
            <p:spPr>
              <a:xfrm rot="20288305">
                <a:off x="1855113" y="410150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79963416-83B7-6671-3216-A21798934D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288305">
                <a:off x="1855113" y="4101501"/>
                <a:ext cx="766726" cy="272126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49C49C89-DC75-C485-C49B-E927B2D4A67C}"/>
                  </a:ext>
                </a:extLst>
              </p:cNvPr>
              <p:cNvSpPr txBox="1"/>
              <p:nvPr/>
            </p:nvSpPr>
            <p:spPr>
              <a:xfrm rot="20619053">
                <a:off x="2005950" y="4277796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49C49C89-DC75-C485-C49B-E927B2D4A6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619053">
                <a:off x="2005950" y="4277796"/>
                <a:ext cx="807498" cy="298030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5BE0C7A-47DA-F6CE-E559-A1DBBAFBBF58}"/>
              </a:ext>
            </a:extLst>
          </p:cNvPr>
          <p:cNvCxnSpPr>
            <a:cxnSpLocks/>
          </p:cNvCxnSpPr>
          <p:nvPr/>
        </p:nvCxnSpPr>
        <p:spPr>
          <a:xfrm flipV="1">
            <a:off x="1260097" y="4609931"/>
            <a:ext cx="4164226" cy="1214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3B4FBF73-D3CF-AB80-39BE-BD4186750FA7}"/>
                  </a:ext>
                </a:extLst>
              </p:cNvPr>
              <p:cNvSpPr txBox="1"/>
              <p:nvPr/>
            </p:nvSpPr>
            <p:spPr>
              <a:xfrm>
                <a:off x="2421670" y="4450361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3B4FBF73-D3CF-AB80-39BE-BD4186750F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1670" y="4450361"/>
                <a:ext cx="828972" cy="297454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134883C3-B223-6645-8F84-E4E2B36C7740}"/>
                  </a:ext>
                </a:extLst>
              </p:cNvPr>
              <p:cNvSpPr txBox="1"/>
              <p:nvPr/>
            </p:nvSpPr>
            <p:spPr>
              <a:xfrm>
                <a:off x="5242157" y="4414213"/>
                <a:ext cx="996680" cy="2857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134883C3-B223-6645-8F84-E4E2B36C77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2157" y="4414213"/>
                <a:ext cx="996680" cy="285719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6A0AC3D-E468-053A-687E-041526EFDB31}"/>
              </a:ext>
            </a:extLst>
          </p:cNvPr>
          <p:cNvCxnSpPr>
            <a:cxnSpLocks/>
          </p:cNvCxnSpPr>
          <p:nvPr/>
        </p:nvCxnSpPr>
        <p:spPr>
          <a:xfrm>
            <a:off x="4113445" y="3923498"/>
            <a:ext cx="1412541" cy="5932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4F8C12D-A63B-2FD7-186A-7374A8BF2330}"/>
                  </a:ext>
                </a:extLst>
              </p:cNvPr>
              <p:cNvSpPr txBox="1"/>
              <p:nvPr/>
            </p:nvSpPr>
            <p:spPr>
              <a:xfrm>
                <a:off x="4163798" y="3784762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4F8C12D-A63B-2FD7-186A-7374A8BF23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3798" y="3784762"/>
                <a:ext cx="756989" cy="27251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0F7ACCB9-2C00-3F56-6A7E-3DCDA40910E9}"/>
                  </a:ext>
                </a:extLst>
              </p:cNvPr>
              <p:cNvSpPr txBox="1"/>
              <p:nvPr/>
            </p:nvSpPr>
            <p:spPr>
              <a:xfrm>
                <a:off x="5533153" y="394122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0F7ACCB9-2C00-3F56-6A7E-3DCDA40910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3153" y="3941223"/>
                <a:ext cx="993400" cy="306622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F4B60A3F-C284-5F44-BA19-88F4AD1F71E6}"/>
                  </a:ext>
                </a:extLst>
              </p:cNvPr>
              <p:cNvSpPr txBox="1"/>
              <p:nvPr/>
            </p:nvSpPr>
            <p:spPr>
              <a:xfrm>
                <a:off x="6027842" y="3513658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F4B60A3F-C284-5F44-BA19-88F4AD1F71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7842" y="3513658"/>
                <a:ext cx="993400" cy="306622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feld 66">
            <a:extLst>
              <a:ext uri="{FF2B5EF4-FFF2-40B4-BE49-F238E27FC236}">
                <a16:creationId xmlns:a16="http://schemas.microsoft.com/office/drawing/2014/main" id="{EBF3F882-9AB1-3BC2-DC72-FEEC14708DBE}"/>
              </a:ext>
            </a:extLst>
          </p:cNvPr>
          <p:cNvSpPr txBox="1"/>
          <p:nvPr/>
        </p:nvSpPr>
        <p:spPr>
          <a:xfrm>
            <a:off x="6076592" y="3756482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EB935A7A-F01F-15CA-F1E5-A1EEC0A25D3D}"/>
              </a:ext>
            </a:extLst>
          </p:cNvPr>
          <p:cNvCxnSpPr>
            <a:cxnSpLocks/>
            <a:stCxn id="300" idx="1"/>
            <a:endCxn id="67" idx="3"/>
          </p:cNvCxnSpPr>
          <p:nvPr/>
        </p:nvCxnSpPr>
        <p:spPr>
          <a:xfrm flipH="1">
            <a:off x="6365454" y="3660730"/>
            <a:ext cx="505316" cy="2188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7820297-9416-2485-8128-CF3C0595C721}"/>
                  </a:ext>
                </a:extLst>
              </p:cNvPr>
              <p:cNvSpPr txBox="1"/>
              <p:nvPr/>
            </p:nvSpPr>
            <p:spPr>
              <a:xfrm>
                <a:off x="6391677" y="3858432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7820297-9416-2485-8128-CF3C0595C7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91677" y="3858432"/>
                <a:ext cx="718212" cy="27520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16D8AE89-4747-7E2D-6F37-0F073EF9C417}"/>
              </a:ext>
            </a:extLst>
          </p:cNvPr>
          <p:cNvCxnSpPr>
            <a:cxnSpLocks/>
          </p:cNvCxnSpPr>
          <p:nvPr/>
        </p:nvCxnSpPr>
        <p:spPr>
          <a:xfrm flipV="1">
            <a:off x="5660059" y="4171971"/>
            <a:ext cx="231761" cy="274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78DCC4BE-D226-DDC0-23A7-0051090E1501}"/>
                  </a:ext>
                </a:extLst>
              </p:cNvPr>
              <p:cNvSpPr txBox="1"/>
              <p:nvPr/>
            </p:nvSpPr>
            <p:spPr>
              <a:xfrm>
                <a:off x="5462083" y="4235650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78DCC4BE-D226-DDC0-23A7-0051090E15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83" y="4235650"/>
                <a:ext cx="1061533" cy="238335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D37A876-9845-9F3C-C696-2EA3896056D6}"/>
                  </a:ext>
                </a:extLst>
              </p:cNvPr>
              <p:cNvSpPr txBox="1"/>
              <p:nvPr/>
            </p:nvSpPr>
            <p:spPr>
              <a:xfrm>
                <a:off x="5300478" y="3375367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D37A876-9845-9F3C-C696-2EA389605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0478" y="3375367"/>
                <a:ext cx="993400" cy="306622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8BDE7AF-D1F3-9249-4DE0-754C9BF1DEAE}"/>
                  </a:ext>
                </a:extLst>
              </p:cNvPr>
              <p:cNvSpPr txBox="1"/>
              <p:nvPr/>
            </p:nvSpPr>
            <p:spPr>
              <a:xfrm>
                <a:off x="6251027" y="2642309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8BDE7AF-D1F3-9249-4DE0-754C9BF1DE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1027" y="2642309"/>
                <a:ext cx="993400" cy="30662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8" name="Textfeld 77">
            <a:extLst>
              <a:ext uri="{FF2B5EF4-FFF2-40B4-BE49-F238E27FC236}">
                <a16:creationId xmlns:a16="http://schemas.microsoft.com/office/drawing/2014/main" id="{CD452D96-CC6F-F770-BCBE-0E179989B422}"/>
              </a:ext>
            </a:extLst>
          </p:cNvPr>
          <p:cNvSpPr txBox="1"/>
          <p:nvPr/>
        </p:nvSpPr>
        <p:spPr>
          <a:xfrm>
            <a:off x="5954046" y="3118553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CBF8AAC2-BDFA-619A-05CD-E41F98F8D184}"/>
                  </a:ext>
                </a:extLst>
              </p:cNvPr>
              <p:cNvSpPr txBox="1"/>
              <p:nvPr/>
            </p:nvSpPr>
            <p:spPr>
              <a:xfrm rot="20407728">
                <a:off x="7285523" y="2471168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CBF8AAC2-BDFA-619A-05CD-E41F98F8D1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407728">
                <a:off x="7285523" y="2471168"/>
                <a:ext cx="718212" cy="275204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BABD3923-BFCD-89EE-94B6-2772E7CBD372}"/>
              </a:ext>
            </a:extLst>
          </p:cNvPr>
          <p:cNvCxnSpPr>
            <a:cxnSpLocks/>
            <a:endCxn id="78" idx="3"/>
          </p:cNvCxnSpPr>
          <p:nvPr/>
        </p:nvCxnSpPr>
        <p:spPr>
          <a:xfrm flipH="1">
            <a:off x="6242908" y="2457726"/>
            <a:ext cx="2204918" cy="783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A9C3BA00-96EE-D06F-3602-4364ADC57812}"/>
              </a:ext>
            </a:extLst>
          </p:cNvPr>
          <p:cNvCxnSpPr>
            <a:cxnSpLocks/>
          </p:cNvCxnSpPr>
          <p:nvPr/>
        </p:nvCxnSpPr>
        <p:spPr>
          <a:xfrm>
            <a:off x="5574690" y="3613231"/>
            <a:ext cx="237999" cy="3962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5E18AAEB-1B3E-D941-30D1-28076FA9F6A6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6524542" y="2872314"/>
            <a:ext cx="104225" cy="6413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08343FA2-A8D9-18A3-1317-BB80C89A9271}"/>
                  </a:ext>
                </a:extLst>
              </p:cNvPr>
              <p:cNvSpPr txBox="1"/>
              <p:nvPr/>
            </p:nvSpPr>
            <p:spPr>
              <a:xfrm>
                <a:off x="7273978" y="2837590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08343FA2-A8D9-18A3-1317-BB80C89A92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78" y="2837590"/>
                <a:ext cx="973832" cy="315218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3BA9B44A-51DA-DAA2-FDAB-9F4229F5175E}"/>
                  </a:ext>
                </a:extLst>
              </p:cNvPr>
              <p:cNvSpPr txBox="1"/>
              <p:nvPr/>
            </p:nvSpPr>
            <p:spPr>
              <a:xfrm rot="3529415">
                <a:off x="5063581" y="3684469"/>
                <a:ext cx="973832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3BA9B44A-51DA-DAA2-FDAB-9F4229F517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3529415">
                <a:off x="5063581" y="3684469"/>
                <a:ext cx="973832" cy="244747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B1EA3639-70ED-A713-425F-DB47B657D808}"/>
                  </a:ext>
                </a:extLst>
              </p:cNvPr>
              <p:cNvSpPr txBox="1"/>
              <p:nvPr/>
            </p:nvSpPr>
            <p:spPr>
              <a:xfrm rot="17219764">
                <a:off x="6384886" y="3121131"/>
                <a:ext cx="604281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B1EA3639-70ED-A713-425F-DB47B657D8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7219764">
                <a:off x="6384886" y="3121131"/>
                <a:ext cx="604281" cy="244747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A5C594D6-C0DC-C6C2-E712-FA1CB4DC6B8E}"/>
                  </a:ext>
                </a:extLst>
              </p:cNvPr>
              <p:cNvSpPr txBox="1"/>
              <p:nvPr/>
            </p:nvSpPr>
            <p:spPr>
              <a:xfrm rot="17468484">
                <a:off x="6144056" y="3241184"/>
                <a:ext cx="650583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A5C594D6-C0DC-C6C2-E712-FA1CB4DC6B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7468484">
                <a:off x="6144056" y="3241184"/>
                <a:ext cx="650583" cy="244747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8673FF94-4C3B-EB68-D118-B32BDA55E3C0}"/>
                  </a:ext>
                </a:extLst>
              </p:cNvPr>
              <p:cNvSpPr txBox="1"/>
              <p:nvPr/>
            </p:nvSpPr>
            <p:spPr>
              <a:xfrm>
                <a:off x="3732982" y="3577285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8673FF94-4C3B-EB68-D118-B32BDA55E3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2982" y="3577285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5B38035-EB81-3DC6-A550-4ADF188350A1}"/>
              </a:ext>
            </a:extLst>
          </p:cNvPr>
          <p:cNvCxnSpPr>
            <a:cxnSpLocks/>
            <a:endCxn id="77" idx="1"/>
          </p:cNvCxnSpPr>
          <p:nvPr/>
        </p:nvCxnSpPr>
        <p:spPr>
          <a:xfrm>
            <a:off x="3206245" y="1834922"/>
            <a:ext cx="3044782" cy="9606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2CFD74D-7EA1-015D-B33C-28391338C9D5}"/>
              </a:ext>
            </a:extLst>
          </p:cNvPr>
          <p:cNvCxnSpPr>
            <a:cxnSpLocks/>
          </p:cNvCxnSpPr>
          <p:nvPr/>
        </p:nvCxnSpPr>
        <p:spPr>
          <a:xfrm>
            <a:off x="1854772" y="1956057"/>
            <a:ext cx="3598670" cy="145326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823AC79-2AF2-350D-D675-2A14EFC31232}"/>
                  </a:ext>
                </a:extLst>
              </p:cNvPr>
              <p:cNvSpPr txBox="1"/>
              <p:nvPr/>
            </p:nvSpPr>
            <p:spPr>
              <a:xfrm rot="1026629">
                <a:off x="3605266" y="2171120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823AC79-2AF2-350D-D675-2A14EFC312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026629">
                <a:off x="3605266" y="2171120"/>
                <a:ext cx="1306501" cy="269433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EA74F55C-7864-C4B2-B2D4-0EAA5266AB3B}"/>
                  </a:ext>
                </a:extLst>
              </p:cNvPr>
              <p:cNvSpPr txBox="1"/>
              <p:nvPr/>
            </p:nvSpPr>
            <p:spPr>
              <a:xfrm rot="1262984">
                <a:off x="3834354" y="1972262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EA74F55C-7864-C4B2-B2D4-0EAA5266AB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262984">
                <a:off x="3834354" y="1972262"/>
                <a:ext cx="1306501" cy="265778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678B77F7-5BA4-0B5C-592D-5DD18597EEFE}"/>
                  </a:ext>
                </a:extLst>
              </p:cNvPr>
              <p:cNvSpPr txBox="1"/>
              <p:nvPr/>
            </p:nvSpPr>
            <p:spPr>
              <a:xfrm rot="1654084">
                <a:off x="2136199" y="2291812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678B77F7-5BA4-0B5C-592D-5DD18597EE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654084">
                <a:off x="2136199" y="2291812"/>
                <a:ext cx="1306501" cy="269433"/>
              </a:xfrm>
              <a:prstGeom prst="rect">
                <a:avLst/>
              </a:prstGeom>
              <a:blipFill>
                <a:blip r:embed="rId1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781743BC-38AF-EC42-C194-55AF3D98DC45}"/>
                  </a:ext>
                </a:extLst>
              </p:cNvPr>
              <p:cNvSpPr txBox="1"/>
              <p:nvPr/>
            </p:nvSpPr>
            <p:spPr>
              <a:xfrm rot="1260179">
                <a:off x="2366023" y="2185207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781743BC-38AF-EC42-C194-55AF3D98DC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260179">
                <a:off x="2366023" y="2185207"/>
                <a:ext cx="1306501" cy="265778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feld 199">
                <a:extLst>
                  <a:ext uri="{FF2B5EF4-FFF2-40B4-BE49-F238E27FC236}">
                    <a16:creationId xmlns:a16="http://schemas.microsoft.com/office/drawing/2014/main" id="{36598C05-44E2-6413-A3D8-5CB6170C6D63}"/>
                  </a:ext>
                </a:extLst>
              </p:cNvPr>
              <p:cNvSpPr txBox="1"/>
              <p:nvPr/>
            </p:nvSpPr>
            <p:spPr>
              <a:xfrm>
                <a:off x="8325975" y="3050953"/>
                <a:ext cx="1368195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0" name="Textfeld 199">
                <a:extLst>
                  <a:ext uri="{FF2B5EF4-FFF2-40B4-BE49-F238E27FC236}">
                    <a16:creationId xmlns:a16="http://schemas.microsoft.com/office/drawing/2014/main" id="{36598C05-44E2-6413-A3D8-5CB6170C6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5975" y="3050953"/>
                <a:ext cx="1368195" cy="306622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1" name="Textfeld 200">
                <a:extLst>
                  <a:ext uri="{FF2B5EF4-FFF2-40B4-BE49-F238E27FC236}">
                    <a16:creationId xmlns:a16="http://schemas.microsoft.com/office/drawing/2014/main" id="{9F984FE5-CC2D-791E-5E86-148C1B50EC35}"/>
                  </a:ext>
                </a:extLst>
              </p:cNvPr>
              <p:cNvSpPr txBox="1"/>
              <p:nvPr/>
            </p:nvSpPr>
            <p:spPr>
              <a:xfrm>
                <a:off x="9623053" y="3050953"/>
                <a:ext cx="75264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1" name="Textfeld 200">
                <a:extLst>
                  <a:ext uri="{FF2B5EF4-FFF2-40B4-BE49-F238E27FC236}">
                    <a16:creationId xmlns:a16="http://schemas.microsoft.com/office/drawing/2014/main" id="{9F984FE5-CC2D-791E-5E86-148C1B50EC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23053" y="3050953"/>
                <a:ext cx="752642" cy="306622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B435F28E-2438-D802-00BF-CAFE3BB8391A}"/>
                  </a:ext>
                </a:extLst>
              </p:cNvPr>
              <p:cNvSpPr txBox="1"/>
              <p:nvPr/>
            </p:nvSpPr>
            <p:spPr>
              <a:xfrm>
                <a:off x="7651733" y="3500220"/>
                <a:ext cx="1751312" cy="2898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B435F28E-2438-D802-00BF-CAFE3BB839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1733" y="3500220"/>
                <a:ext cx="1751312" cy="289823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6" name="Textfeld 205">
                <a:extLst>
                  <a:ext uri="{FF2B5EF4-FFF2-40B4-BE49-F238E27FC236}">
                    <a16:creationId xmlns:a16="http://schemas.microsoft.com/office/drawing/2014/main" id="{DCDA2EF2-EF54-3384-BBEF-806CF283BFED}"/>
                  </a:ext>
                </a:extLst>
              </p:cNvPr>
              <p:cNvSpPr txBox="1"/>
              <p:nvPr/>
            </p:nvSpPr>
            <p:spPr>
              <a:xfrm>
                <a:off x="9805479" y="3588314"/>
                <a:ext cx="1135759" cy="2898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6" name="Textfeld 205">
                <a:extLst>
                  <a:ext uri="{FF2B5EF4-FFF2-40B4-BE49-F238E27FC236}">
                    <a16:creationId xmlns:a16="http://schemas.microsoft.com/office/drawing/2014/main" id="{DCDA2EF2-EF54-3384-BBEF-806CF283BF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5479" y="3588314"/>
                <a:ext cx="1135759" cy="289823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BAA66AD7-B3AD-F20E-CBF3-2C81EB3BFBF3}"/>
              </a:ext>
            </a:extLst>
          </p:cNvPr>
          <p:cNvCxnSpPr>
            <a:cxnSpLocks/>
          </p:cNvCxnSpPr>
          <p:nvPr/>
        </p:nvCxnSpPr>
        <p:spPr>
          <a:xfrm flipH="1">
            <a:off x="8179475" y="2506657"/>
            <a:ext cx="422140" cy="10404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062144D5-5F6D-9C09-5A05-60FD07C6FCD2}"/>
              </a:ext>
            </a:extLst>
          </p:cNvPr>
          <p:cNvCxnSpPr>
            <a:cxnSpLocks/>
          </p:cNvCxnSpPr>
          <p:nvPr/>
        </p:nvCxnSpPr>
        <p:spPr>
          <a:xfrm>
            <a:off x="8444136" y="2894153"/>
            <a:ext cx="334008" cy="19250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E45793D4-8168-2387-94ED-48A879F92B4C}"/>
              </a:ext>
            </a:extLst>
          </p:cNvPr>
          <p:cNvCxnSpPr>
            <a:cxnSpLocks/>
            <a:endCxn id="206" idx="0"/>
          </p:cNvCxnSpPr>
          <p:nvPr/>
        </p:nvCxnSpPr>
        <p:spPr>
          <a:xfrm rot="16200000" flipH="1">
            <a:off x="9193711" y="2408666"/>
            <a:ext cx="1213494" cy="1145802"/>
          </a:xfrm>
          <a:prstGeom prst="bentConnector3">
            <a:avLst>
              <a:gd name="adj1" fmla="val -235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mit Pfeil 246">
            <a:extLst>
              <a:ext uri="{FF2B5EF4-FFF2-40B4-BE49-F238E27FC236}">
                <a16:creationId xmlns:a16="http://schemas.microsoft.com/office/drawing/2014/main" id="{B289A3AA-B9A2-8DE1-88F1-FBB90FABCD49}"/>
              </a:ext>
            </a:extLst>
          </p:cNvPr>
          <p:cNvCxnSpPr>
            <a:cxnSpLocks/>
            <a:endCxn id="201" idx="0"/>
          </p:cNvCxnSpPr>
          <p:nvPr/>
        </p:nvCxnSpPr>
        <p:spPr>
          <a:xfrm flipH="1">
            <a:off x="9999374" y="2773362"/>
            <a:ext cx="378261" cy="27759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A50535EE-A10A-C1D2-71F5-9899ED4E68D2}"/>
              </a:ext>
            </a:extLst>
          </p:cNvPr>
          <p:cNvCxnSpPr>
            <a:cxnSpLocks/>
            <a:endCxn id="324" idx="0"/>
          </p:cNvCxnSpPr>
          <p:nvPr/>
        </p:nvCxnSpPr>
        <p:spPr>
          <a:xfrm flipH="1">
            <a:off x="9553979" y="3804638"/>
            <a:ext cx="629877" cy="41204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mit Pfeil 255">
            <a:extLst>
              <a:ext uri="{FF2B5EF4-FFF2-40B4-BE49-F238E27FC236}">
                <a16:creationId xmlns:a16="http://schemas.microsoft.com/office/drawing/2014/main" id="{001AA76D-7AC2-0C37-B715-76ACC38583E2}"/>
              </a:ext>
            </a:extLst>
          </p:cNvPr>
          <p:cNvCxnSpPr>
            <a:cxnSpLocks/>
          </p:cNvCxnSpPr>
          <p:nvPr/>
        </p:nvCxnSpPr>
        <p:spPr>
          <a:xfrm flipH="1" flipV="1">
            <a:off x="9283573" y="3326898"/>
            <a:ext cx="585330" cy="6909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Gerade Verbindung mit Pfeil 259">
            <a:extLst>
              <a:ext uri="{FF2B5EF4-FFF2-40B4-BE49-F238E27FC236}">
                <a16:creationId xmlns:a16="http://schemas.microsoft.com/office/drawing/2014/main" id="{32C7CAA6-884A-555B-2142-C2B94E49FCE6}"/>
              </a:ext>
            </a:extLst>
          </p:cNvPr>
          <p:cNvCxnSpPr>
            <a:cxnSpLocks/>
          </p:cNvCxnSpPr>
          <p:nvPr/>
        </p:nvCxnSpPr>
        <p:spPr>
          <a:xfrm>
            <a:off x="8747292" y="3781826"/>
            <a:ext cx="618081" cy="48460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BA3B640B-9375-7C72-C35F-59CDE9861D9A}"/>
              </a:ext>
            </a:extLst>
          </p:cNvPr>
          <p:cNvCxnSpPr>
            <a:cxnSpLocks/>
          </p:cNvCxnSpPr>
          <p:nvPr/>
        </p:nvCxnSpPr>
        <p:spPr>
          <a:xfrm flipV="1">
            <a:off x="9058888" y="3317387"/>
            <a:ext cx="778949" cy="7163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54429B1E-0AA0-5F36-EA19-03E5E12379A6}"/>
                  </a:ext>
                </a:extLst>
              </p:cNvPr>
              <p:cNvSpPr txBox="1"/>
              <p:nvPr/>
            </p:nvSpPr>
            <p:spPr>
              <a:xfrm>
                <a:off x="9535557" y="2452116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54429B1E-0AA0-5F36-EA19-03E5E12379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35557" y="2452116"/>
                <a:ext cx="973832" cy="258276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548F99B3-ED3E-C238-ACFA-D7DE8EEBC5C0}"/>
                  </a:ext>
                </a:extLst>
              </p:cNvPr>
              <p:cNvSpPr txBox="1"/>
              <p:nvPr/>
            </p:nvSpPr>
            <p:spPr>
              <a:xfrm>
                <a:off x="9616249" y="3969587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548F99B3-ED3E-C238-ACFA-D7DE8EEBC5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16249" y="3969587"/>
                <a:ext cx="973832" cy="258276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AD04BC68-5153-B7A5-CCCE-E9B05E4939A5}"/>
                  </a:ext>
                </a:extLst>
              </p:cNvPr>
              <p:cNvSpPr txBox="1"/>
              <p:nvPr/>
            </p:nvSpPr>
            <p:spPr>
              <a:xfrm>
                <a:off x="8376798" y="3971355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AD04BC68-5153-B7A5-CCCE-E9B05E4939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6798" y="3971355"/>
                <a:ext cx="973832" cy="258276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Textfeld 274">
            <a:extLst>
              <a:ext uri="{FF2B5EF4-FFF2-40B4-BE49-F238E27FC236}">
                <a16:creationId xmlns:a16="http://schemas.microsoft.com/office/drawing/2014/main" id="{8242A94D-CB6F-0E09-F5CF-3EA4DCBAA63C}"/>
              </a:ext>
            </a:extLst>
          </p:cNvPr>
          <p:cNvSpPr txBox="1"/>
          <p:nvPr/>
        </p:nvSpPr>
        <p:spPr>
          <a:xfrm>
            <a:off x="-9910" y="3694926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</a:p>
        </p:txBody>
      </p:sp>
      <p:cxnSp>
        <p:nvCxnSpPr>
          <p:cNvPr id="279" name="Gerade Verbindung mit Pfeil 278">
            <a:extLst>
              <a:ext uri="{FF2B5EF4-FFF2-40B4-BE49-F238E27FC236}">
                <a16:creationId xmlns:a16="http://schemas.microsoft.com/office/drawing/2014/main" id="{D6D4F6A5-817F-CB29-78EB-0601CA711E9F}"/>
              </a:ext>
            </a:extLst>
          </p:cNvPr>
          <p:cNvCxnSpPr>
            <a:cxnSpLocks/>
          </p:cNvCxnSpPr>
          <p:nvPr/>
        </p:nvCxnSpPr>
        <p:spPr>
          <a:xfrm flipV="1">
            <a:off x="8786361" y="1602811"/>
            <a:ext cx="574382" cy="57841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8D2E3646-C844-750E-89BB-A30FD59CB596}"/>
                  </a:ext>
                </a:extLst>
              </p:cNvPr>
              <p:cNvSpPr txBox="1"/>
              <p:nvPr/>
            </p:nvSpPr>
            <p:spPr>
              <a:xfrm>
                <a:off x="8477064" y="1707059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8D2E3646-C844-750E-89BB-A30FD59CB5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7064" y="1707059"/>
                <a:ext cx="973832" cy="239809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40A5AFE9-A3F6-D125-204C-CBB1F2EEF982}"/>
                  </a:ext>
                </a:extLst>
              </p:cNvPr>
              <p:cNvSpPr txBox="1"/>
              <p:nvPr/>
            </p:nvSpPr>
            <p:spPr>
              <a:xfrm>
                <a:off x="8281643" y="4809330"/>
                <a:ext cx="1815433" cy="286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40A5AFE9-A3F6-D125-204C-CBB1F2EEF9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1643" y="4809330"/>
                <a:ext cx="1815433" cy="286873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EDD9158A-BA79-DA2B-E840-A4F82556C033}"/>
              </a:ext>
            </a:extLst>
          </p:cNvPr>
          <p:cNvCxnSpPr>
            <a:cxnSpLocks/>
          </p:cNvCxnSpPr>
          <p:nvPr/>
        </p:nvCxnSpPr>
        <p:spPr>
          <a:xfrm>
            <a:off x="9868903" y="4426811"/>
            <a:ext cx="1206054" cy="411073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82341943-7B73-A6AB-5C1E-419F3A3C1418}"/>
                  </a:ext>
                </a:extLst>
              </p:cNvPr>
              <p:cNvSpPr txBox="1"/>
              <p:nvPr/>
            </p:nvSpPr>
            <p:spPr>
              <a:xfrm rot="18350585">
                <a:off x="9688331" y="1884264"/>
                <a:ext cx="829201" cy="1497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𝑟𝑎𝑑𝑎𝑡𝑖𝑜𝑛</m:t>
                          </m:r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</m:oMath>
                  </m:oMathPara>
                </a14:m>
                <a:endParaRPr lang="de-DE" sz="9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82341943-7B73-A6AB-5C1E-419F3A3C14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350585">
                <a:off x="9688331" y="1884264"/>
                <a:ext cx="829201" cy="149721"/>
              </a:xfrm>
              <a:prstGeom prst="rect">
                <a:avLst/>
              </a:prstGeom>
              <a:blipFill>
                <a:blip r:embed="rId170"/>
                <a:stretch>
                  <a:fillRect l="-990" r="-990" b="-24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8" name="Textfeld 317">
                <a:extLst>
                  <a:ext uri="{FF2B5EF4-FFF2-40B4-BE49-F238E27FC236}">
                    <a16:creationId xmlns:a16="http://schemas.microsoft.com/office/drawing/2014/main" id="{4EDE701D-BA71-7228-DD27-2C563BA8A2A2}"/>
                  </a:ext>
                </a:extLst>
              </p:cNvPr>
              <p:cNvSpPr txBox="1"/>
              <p:nvPr/>
            </p:nvSpPr>
            <p:spPr>
              <a:xfrm>
                <a:off x="11034020" y="4738895"/>
                <a:ext cx="400916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894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OGI</m:t>
                      </m:r>
                    </m:oMath>
                  </m:oMathPara>
                </a14:m>
                <a:endParaRPr lang="de-DE" sz="894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8" name="Textfeld 317">
                <a:extLst>
                  <a:ext uri="{FF2B5EF4-FFF2-40B4-BE49-F238E27FC236}">
                    <a16:creationId xmlns:a16="http://schemas.microsoft.com/office/drawing/2014/main" id="{4EDE701D-BA71-7228-DD27-2C563BA8A2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34020" y="4738895"/>
                <a:ext cx="400916" cy="229935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1" name="Gerade Verbindung mit Pfeil 320">
            <a:extLst>
              <a:ext uri="{FF2B5EF4-FFF2-40B4-BE49-F238E27FC236}">
                <a16:creationId xmlns:a16="http://schemas.microsoft.com/office/drawing/2014/main" id="{8356573F-2799-5F9F-1EFD-C37FAFEECB05}"/>
              </a:ext>
            </a:extLst>
          </p:cNvPr>
          <p:cNvCxnSpPr>
            <a:cxnSpLocks/>
          </p:cNvCxnSpPr>
          <p:nvPr/>
        </p:nvCxnSpPr>
        <p:spPr>
          <a:xfrm flipH="1">
            <a:off x="9241753" y="1499112"/>
            <a:ext cx="1078359" cy="1587536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A004C9F0-8C86-5D92-06BD-39E06DE6093A}"/>
              </a:ext>
            </a:extLst>
          </p:cNvPr>
          <p:cNvCxnSpPr>
            <a:cxnSpLocks/>
          </p:cNvCxnSpPr>
          <p:nvPr/>
        </p:nvCxnSpPr>
        <p:spPr>
          <a:xfrm>
            <a:off x="6939231" y="2883241"/>
            <a:ext cx="1734466" cy="201829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Gerade Verbindung mit Pfeil 341">
            <a:extLst>
              <a:ext uri="{FF2B5EF4-FFF2-40B4-BE49-F238E27FC236}">
                <a16:creationId xmlns:a16="http://schemas.microsoft.com/office/drawing/2014/main" id="{2F0156AC-4E61-B121-07D2-B54C4555E26E}"/>
              </a:ext>
            </a:extLst>
          </p:cNvPr>
          <p:cNvCxnSpPr>
            <a:cxnSpLocks/>
          </p:cNvCxnSpPr>
          <p:nvPr/>
        </p:nvCxnSpPr>
        <p:spPr>
          <a:xfrm flipV="1">
            <a:off x="7995251" y="3239056"/>
            <a:ext cx="935293" cy="8877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6" name="Textfeld 345">
                <a:extLst>
                  <a:ext uri="{FF2B5EF4-FFF2-40B4-BE49-F238E27FC236}">
                    <a16:creationId xmlns:a16="http://schemas.microsoft.com/office/drawing/2014/main" id="{E64ABA79-3C61-A6C1-87AB-7A9A4598C146}"/>
                  </a:ext>
                </a:extLst>
              </p:cNvPr>
              <p:cNvSpPr txBox="1"/>
              <p:nvPr/>
            </p:nvSpPr>
            <p:spPr>
              <a:xfrm>
                <a:off x="7591106" y="3712674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6" name="Textfeld 345">
                <a:extLst>
                  <a:ext uri="{FF2B5EF4-FFF2-40B4-BE49-F238E27FC236}">
                    <a16:creationId xmlns:a16="http://schemas.microsoft.com/office/drawing/2014/main" id="{E64ABA79-3C61-A6C1-87AB-7A9A4598C1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1106" y="3712674"/>
                <a:ext cx="973832" cy="258276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470D275-531C-A935-C92A-1946C164BEAA}"/>
                  </a:ext>
                </a:extLst>
              </p:cNvPr>
              <p:cNvSpPr txBox="1"/>
              <p:nvPr/>
            </p:nvSpPr>
            <p:spPr>
              <a:xfrm>
                <a:off x="8746177" y="4517089"/>
                <a:ext cx="1199880" cy="286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470D275-531C-A935-C92A-1946C164BE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6177" y="4517089"/>
                <a:ext cx="1199880" cy="286873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B084D27-B51B-CC55-9857-327E254331B3}"/>
              </a:ext>
            </a:extLst>
          </p:cNvPr>
          <p:cNvCxnSpPr>
            <a:cxnSpLocks/>
          </p:cNvCxnSpPr>
          <p:nvPr/>
        </p:nvCxnSpPr>
        <p:spPr>
          <a:xfrm>
            <a:off x="5974824" y="3526702"/>
            <a:ext cx="3024298" cy="103396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1AA9E3E4-4BF7-3E46-CDFC-4037DFA08A01}"/>
                  </a:ext>
                </a:extLst>
              </p:cNvPr>
              <p:cNvSpPr txBox="1"/>
              <p:nvPr/>
            </p:nvSpPr>
            <p:spPr>
              <a:xfrm>
                <a:off x="7170638" y="4131981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1AA9E3E4-4BF7-3E46-CDFC-4037DFA08A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0638" y="4131981"/>
                <a:ext cx="973832" cy="258276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3F5FB99-D5E1-6CAE-8374-1DE97DA9F86D}"/>
              </a:ext>
            </a:extLst>
          </p:cNvPr>
          <p:cNvCxnSpPr>
            <a:cxnSpLocks/>
            <a:endCxn id="201" idx="2"/>
          </p:cNvCxnSpPr>
          <p:nvPr/>
        </p:nvCxnSpPr>
        <p:spPr>
          <a:xfrm flipV="1">
            <a:off x="8754682" y="3357575"/>
            <a:ext cx="1244692" cy="1130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F2E010D-6C53-8BCB-7CD7-C28B7E33FFBD}"/>
              </a:ext>
            </a:extLst>
          </p:cNvPr>
          <p:cNvCxnSpPr>
            <a:cxnSpLocks/>
            <a:stCxn id="200" idx="0"/>
          </p:cNvCxnSpPr>
          <p:nvPr/>
        </p:nvCxnSpPr>
        <p:spPr>
          <a:xfrm flipV="1">
            <a:off x="9010073" y="1677789"/>
            <a:ext cx="795406" cy="13731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8DAB286E-F418-C5AE-97C7-4D27EC3E90F7}"/>
                  </a:ext>
                </a:extLst>
              </p:cNvPr>
              <p:cNvSpPr txBox="1"/>
              <p:nvPr/>
            </p:nvSpPr>
            <p:spPr>
              <a:xfrm>
                <a:off x="9062433" y="1734638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8DAB286E-F418-C5AE-97C7-4D27EC3E90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62433" y="1734638"/>
                <a:ext cx="973832" cy="239809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99FDDB8-4759-103C-55AB-9CA4C009FFE5}"/>
                  </a:ext>
                </a:extLst>
              </p:cNvPr>
              <p:cNvSpPr txBox="1"/>
              <p:nvPr/>
            </p:nvSpPr>
            <p:spPr>
              <a:xfrm rot="18350585">
                <a:off x="9866298" y="1700791"/>
                <a:ext cx="299249" cy="1491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</m:oMath>
                  </m:oMathPara>
                </a14:m>
                <a:endParaRPr lang="de-DE" sz="9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99FDDB8-4759-103C-55AB-9CA4C009F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350585">
                <a:off x="9866298" y="1700791"/>
                <a:ext cx="299249" cy="149143"/>
              </a:xfrm>
              <a:prstGeom prst="rect">
                <a:avLst/>
              </a:prstGeom>
              <a:blipFill>
                <a:blip r:embed="rId176"/>
                <a:stretch>
                  <a:fillRect l="-2000" r="-12000" b="-54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687667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51001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j Metabolites1 internalized in endosomal/lysosomal space on a single cell, j = 1,2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5195739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79521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</a:t>
            </a:r>
            <a:r>
              <a:rPr lang="en-US" dirty="0" err="1"/>
              <a:t>Protac</a:t>
            </a:r>
            <a:r>
              <a:rPr lang="en-US" dirty="0"/>
              <a:t> and 1 Metabolite1 internalized in endosomal/lysosomal space on a single cell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839336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-145983" y="88855"/>
                <a:ext cx="12483966" cy="66802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2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𝑙𝑦𝑠𝑜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𝑙𝑦𝑠𝑜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45983" y="88855"/>
                <a:ext cx="12483966" cy="668029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526972" y="2185483"/>
            <a:ext cx="313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Shuttle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06933FC8-CDAB-031A-DB30-7409EE5E9D32}"/>
              </a:ext>
            </a:extLst>
          </p:cNvPr>
          <p:cNvSpPr/>
          <p:nvPr/>
        </p:nvSpPr>
        <p:spPr>
          <a:xfrm rot="5400000">
            <a:off x="8868151" y="2806157"/>
            <a:ext cx="274891" cy="63728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8">
            <a:extLst>
              <a:ext uri="{FF2B5EF4-FFF2-40B4-BE49-F238E27FC236}">
                <a16:creationId xmlns:a16="http://schemas.microsoft.com/office/drawing/2014/main" id="{73FCE5A0-170F-605C-376E-E4EC124E77F4}"/>
              </a:ext>
            </a:extLst>
          </p:cNvPr>
          <p:cNvSpPr txBox="1"/>
          <p:nvPr/>
        </p:nvSpPr>
        <p:spPr>
          <a:xfrm>
            <a:off x="7882725" y="6083904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16CAB347-A1C3-1C15-B912-A7FC33F6C301}"/>
              </a:ext>
            </a:extLst>
          </p:cNvPr>
          <p:cNvSpPr/>
          <p:nvPr/>
        </p:nvSpPr>
        <p:spPr>
          <a:xfrm rot="5400000">
            <a:off x="2588888" y="3276355"/>
            <a:ext cx="274891" cy="5363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8">
            <a:extLst>
              <a:ext uri="{FF2B5EF4-FFF2-40B4-BE49-F238E27FC236}">
                <a16:creationId xmlns:a16="http://schemas.microsoft.com/office/drawing/2014/main" id="{DFE9923C-6132-0BF4-73DC-91C230E8070A}"/>
              </a:ext>
            </a:extLst>
          </p:cNvPr>
          <p:cNvSpPr txBox="1"/>
          <p:nvPr/>
        </p:nvSpPr>
        <p:spPr>
          <a:xfrm>
            <a:off x="151002" y="6049387"/>
            <a:ext cx="5363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non-covalent bound </a:t>
            </a:r>
            <a:r>
              <a:rPr lang="en-US" dirty="0" err="1"/>
              <a:t>Protac</a:t>
            </a:r>
            <a:r>
              <a:rPr lang="en-US" dirty="0"/>
              <a:t> of ADC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50794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2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507946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6974CBBD-9782-A544-5E1F-E1DF6C77CEFA}"/>
              </a:ext>
            </a:extLst>
          </p:cNvPr>
          <p:cNvSpPr/>
          <p:nvPr/>
        </p:nvSpPr>
        <p:spPr>
          <a:xfrm rot="5400000">
            <a:off x="5986546" y="2344389"/>
            <a:ext cx="274891" cy="5363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8">
            <a:extLst>
              <a:ext uri="{FF2B5EF4-FFF2-40B4-BE49-F238E27FC236}">
                <a16:creationId xmlns:a16="http://schemas.microsoft.com/office/drawing/2014/main" id="{FB6BE186-4029-EF4B-93C6-C029F64C6408}"/>
              </a:ext>
            </a:extLst>
          </p:cNvPr>
          <p:cNvSpPr txBox="1"/>
          <p:nvPr/>
        </p:nvSpPr>
        <p:spPr>
          <a:xfrm>
            <a:off x="3548660" y="5117421"/>
            <a:ext cx="5363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non-covalent bound Meta1 of ADC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60838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sSub>
                                <m:sSubPr>
                                  <m:ctrlP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  <m:sub/>
                              </m:sSub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6083845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735712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6101050" y="1124511"/>
            <a:ext cx="226947" cy="103699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4597181" y="2977413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7945932" y="2318667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033517" y="2946013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139407" y="818759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8735127" y="1558271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814809" y="6347663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602408" y="3810820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784018" y="2629363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298497" y="378012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68052" y="1646745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282531" y="2797503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E4AA333B-A645-F2CB-43DB-7D97F6AEE9DF}"/>
              </a:ext>
            </a:extLst>
          </p:cNvPr>
          <p:cNvSpPr/>
          <p:nvPr/>
        </p:nvSpPr>
        <p:spPr>
          <a:xfrm rot="5400000">
            <a:off x="4585481" y="2378808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00590CAF-B6A6-B082-AF67-E58C24BA7A10}"/>
              </a:ext>
            </a:extLst>
          </p:cNvPr>
          <p:cNvSpPr txBox="1"/>
          <p:nvPr/>
        </p:nvSpPr>
        <p:spPr>
          <a:xfrm>
            <a:off x="3220424" y="3852023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048725DB-0875-425A-9300-59F678DFAD01}"/>
              </a:ext>
            </a:extLst>
          </p:cNvPr>
          <p:cNvSpPr/>
          <p:nvPr/>
        </p:nvSpPr>
        <p:spPr>
          <a:xfrm rot="5400000">
            <a:off x="5592550" y="11163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F0BD4BA6-7D90-6C28-4AD7-670A952D1D57}"/>
              </a:ext>
            </a:extLst>
          </p:cNvPr>
          <p:cNvSpPr txBox="1"/>
          <p:nvPr/>
        </p:nvSpPr>
        <p:spPr>
          <a:xfrm>
            <a:off x="4532120" y="4936615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2185934" cy="56779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2185934" cy="5677965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027200" y="359257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353784" y="3592577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569426" y="143392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055394" y="2204835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346123" y="363940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886995" y="235036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699094" y="3703842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017437" y="4854600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16">
            <a:extLst>
              <a:ext uri="{FF2B5EF4-FFF2-40B4-BE49-F238E27FC236}">
                <a16:creationId xmlns:a16="http://schemas.microsoft.com/office/drawing/2014/main" id="{EFAFD6EB-D6CE-03B6-0C27-2F4BAC0E94DF}"/>
              </a:ext>
            </a:extLst>
          </p:cNvPr>
          <p:cNvSpPr/>
          <p:nvPr/>
        </p:nvSpPr>
        <p:spPr>
          <a:xfrm rot="5400000">
            <a:off x="5714471" y="1051601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0">
            <a:extLst>
              <a:ext uri="{FF2B5EF4-FFF2-40B4-BE49-F238E27FC236}">
                <a16:creationId xmlns:a16="http://schemas.microsoft.com/office/drawing/2014/main" id="{4770CBC1-F987-D41A-A959-7454E2C66371}"/>
              </a:ext>
            </a:extLst>
          </p:cNvPr>
          <p:cNvSpPr txBox="1"/>
          <p:nvPr/>
        </p:nvSpPr>
        <p:spPr>
          <a:xfrm>
            <a:off x="4654041" y="597705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548D92D4-BBAA-8ACD-F64A-4D3C522DB9FB}"/>
              </a:ext>
            </a:extLst>
          </p:cNvPr>
          <p:cNvSpPr/>
          <p:nvPr/>
        </p:nvSpPr>
        <p:spPr>
          <a:xfrm rot="5400000">
            <a:off x="4643676" y="3428147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9131C9E5-0D74-8F9A-EB70-92151A28D014}"/>
              </a:ext>
            </a:extLst>
          </p:cNvPr>
          <p:cNvSpPr txBox="1"/>
          <p:nvPr/>
        </p:nvSpPr>
        <p:spPr>
          <a:xfrm>
            <a:off x="3278619" y="490136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652214" y="2310769"/>
            <a:ext cx="24315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e to non-specific deconjugation of ADC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536146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verage drug-to-antibody ratio for covalent bound ADC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29714" y="1289875"/>
            <a:ext cx="477672" cy="16377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87A244DD-0E0B-4A99-A0BE-9012691838E7}"/>
                  </a:ext>
                </a:extLst>
              </p:cNvPr>
              <p:cNvSpPr txBox="1"/>
              <p:nvPr/>
            </p:nvSpPr>
            <p:spPr>
              <a:xfrm>
                <a:off x="5227" y="497795"/>
                <a:ext cx="6029325" cy="16716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𝑐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87A244DD-0E0B-4A99-A0BE-9012691838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7" y="497795"/>
                <a:ext cx="6029325" cy="167161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8">
            <a:extLst>
              <a:ext uri="{FF2B5EF4-FFF2-40B4-BE49-F238E27FC236}">
                <a16:creationId xmlns:a16="http://schemas.microsoft.com/office/drawing/2014/main" id="{87A51249-B849-6A44-777F-9912C27D136F}"/>
              </a:ext>
            </a:extLst>
          </p:cNvPr>
          <p:cNvSpPr txBox="1"/>
          <p:nvPr/>
        </p:nvSpPr>
        <p:spPr>
          <a:xfrm>
            <a:off x="151002" y="3535073"/>
            <a:ext cx="346729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Mean DAR in plasma (only </a:t>
            </a:r>
            <a:r>
              <a:rPr lang="en-US" dirty="0" err="1"/>
              <a:t>Protacs</a:t>
            </a:r>
            <a:r>
              <a:rPr lang="en-US" dirty="0"/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69134F12-C0F6-2922-E9A4-B66DA68636BB}"/>
                  </a:ext>
                </a:extLst>
              </p:cNvPr>
              <p:cNvSpPr txBox="1"/>
              <p:nvPr/>
            </p:nvSpPr>
            <p:spPr>
              <a:xfrm>
                <a:off x="387531" y="4162655"/>
                <a:ext cx="21316476" cy="1638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𝑚𝑒𝑎𝑛</m:t>
                      </m:r>
                      <m:r>
                        <a:rPr lang="de-DE" i="1" smtClean="0">
                          <a:latin typeface="Cambria Math" panose="02040503050406030204" pitchFamily="18" charset="0"/>
                        </a:rPr>
                        <m:t>𝐷𝐴𝑅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0 + </m:t>
                          </m:r>
                          <m:nary>
                            <m:naryPr>
                              <m:chr m:val="∑"/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+</m:t>
                          </m:r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1 +</m:t>
                          </m:r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2 +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3) 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𝑊</m:t>
                              </m:r>
                            </m:num>
                            <m:den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</m:num>
                        <m:den>
                          <m:d>
                            <m:d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ctrlP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a:rPr lang="de-DE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b="0" i="1" smtClean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≤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𝐴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  <m:r>
                                                <a:rPr lang="de-DE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𝑚𝑗</m:t>
                                              </m:r>
                                            </m:sub>
                                            <m:sup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𝐶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de-DE" i="1" strike="sngStrike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𝑊</m:t>
                              </m:r>
                            </m:num>
                            <m:den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≤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ctrlP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≤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𝐴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𝑏𝑖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𝑚𝑗</m:t>
                                              </m:r>
                                            </m:sub>
                                            <m:sup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𝐶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</m:e>
                                  </m:nary>
                                </m:e>
                              </m:nary>
                            </m:e>
                          </m:d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2"/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20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nary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+</m:t>
                            </m:r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,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</m:num>
                          <m:den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nary>
                                  <m:naryPr>
                                    <m:chr m:val="∑"/>
                                    <m:ctrlP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  <m:e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𝐷𝐶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𝑗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𝐷𝐶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,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nary>
                              </m:e>
                            </m:nary>
                          </m:den>
                        </m:f>
                        <m:r>
                          <a:rPr lang="de-DE" sz="20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𝐴𝑅</m:t>
                        </m:r>
                      </m:e>
                    </m:d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nary>
                          <m:naryPr>
                            <m:chr m:val="∑"/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=0</m:t>
                            </m:r>
                          </m:sub>
                          <m: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𝑖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𝑗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,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</m:e>
                            </m:nary>
                          </m:e>
                        </m:nary>
                      </m:num>
                      <m:den>
                        <m:nary>
                          <m:naryPr>
                            <m:chr m:val="∑"/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=0</m:t>
                            </m:r>
                          </m:sub>
                          <m: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𝑖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𝑗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,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</m:e>
                            </m:nary>
                          </m:e>
                        </m:nary>
                        <m:r>
                          <a:rPr lang="de-DE" sz="20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d>
                          <m:d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𝑚𝑎𝑥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𝑏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nary>
                                  <m:naryPr>
                                    <m:chr m:val="∑"/>
                                    <m:ctrlP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𝑎𝑥</m:t>
                                    </m:r>
                                  </m:sup>
                                  <m:e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𝑏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𝑗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nary>
                                      <m:naryPr>
                                        <m:chr m:val="∑"/>
                                        <m:ctrl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,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≤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𝑚𝑎𝑥</m:t>
                                        </m:r>
                                      </m:sup>
                                      <m:e>
                                        <m:sSubSup>
                                          <m:sSubSupPr>
                                            <m:ctrlPr>
                                              <a:rPr lang="en-US" sz="20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𝐴𝑏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𝑏𝑖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,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𝑚𝑗</m:t>
                                            </m:r>
                                          </m:sub>
                                          <m:sup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𝐶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p>
                                        </m:sSubSup>
                                      </m:e>
                                    </m:nary>
                                  </m:e>
                                </m:nary>
                              </m:e>
                            </m:nary>
                          </m:e>
                        </m:d>
                      </m:den>
                    </m:f>
                  </m:oMath>
                </a14:m>
                <a:endParaRPr lang="de-DE" sz="2000" i="1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69134F12-C0F6-2922-E9A4-B66DA6863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7531" y="4162655"/>
                <a:ext cx="21316476" cy="163871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377178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93441" y="469999"/>
                <a:ext cx="12098559" cy="59313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441" y="469999"/>
                <a:ext cx="12098559" cy="593136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564046" y="1826360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7013189" y="317291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8655230" y="1736426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7555415" y="1014264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10356840" y="348684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3332112" y="321974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407735" y="-1716609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3872984" y="1930707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170957" y="1914973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489300" y="3065731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749951" y="149131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657029" y="451742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031930" y="4035495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688406" y="5527648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62322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b="0" i="1" smtClean="0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 smtClean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6232219"/>
              </a:xfrm>
              <a:prstGeom prst="rect">
                <a:avLst/>
              </a:prstGeom>
              <a:blipFill>
                <a:blip r:embed="rId4"/>
                <a:stretch>
                  <a:fillRect l="-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6433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 and E3-ligase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5890969" y="-1090232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601705" y="4468387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863410" y="3793948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840882" y="5379927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3014781" y="393163"/>
            <a:ext cx="270662" cy="24404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1155703" y="1752336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2" name="Right Brace 16">
            <a:extLst>
              <a:ext uri="{FF2B5EF4-FFF2-40B4-BE49-F238E27FC236}">
                <a16:creationId xmlns:a16="http://schemas.microsoft.com/office/drawing/2014/main" id="{6C9EB81C-8AAD-3183-2D99-8279E90FB66F}"/>
              </a:ext>
            </a:extLst>
          </p:cNvPr>
          <p:cNvSpPr/>
          <p:nvPr/>
        </p:nvSpPr>
        <p:spPr>
          <a:xfrm rot="5400000">
            <a:off x="5296459" y="-1967020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0">
            <a:extLst>
              <a:ext uri="{FF2B5EF4-FFF2-40B4-BE49-F238E27FC236}">
                <a16:creationId xmlns:a16="http://schemas.microsoft.com/office/drawing/2014/main" id="{D69F9C19-F6BB-AA4C-FE17-677AABCEADD5}"/>
              </a:ext>
            </a:extLst>
          </p:cNvPr>
          <p:cNvSpPr txBox="1"/>
          <p:nvPr/>
        </p:nvSpPr>
        <p:spPr>
          <a:xfrm>
            <a:off x="3999237" y="3003324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4" name="Right Brace 10">
            <a:extLst>
              <a:ext uri="{FF2B5EF4-FFF2-40B4-BE49-F238E27FC236}">
                <a16:creationId xmlns:a16="http://schemas.microsoft.com/office/drawing/2014/main" id="{DF97FB0B-CC04-A7D0-9E97-FBA855212C75}"/>
              </a:ext>
            </a:extLst>
          </p:cNvPr>
          <p:cNvSpPr/>
          <p:nvPr/>
        </p:nvSpPr>
        <p:spPr>
          <a:xfrm rot="5400000">
            <a:off x="5865690" y="214085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21">
            <a:extLst>
              <a:ext uri="{FF2B5EF4-FFF2-40B4-BE49-F238E27FC236}">
                <a16:creationId xmlns:a16="http://schemas.microsoft.com/office/drawing/2014/main" id="{6A5A582B-95CC-3AA8-A81C-01CEC01D76A1}"/>
              </a:ext>
            </a:extLst>
          </p:cNvPr>
          <p:cNvSpPr txBox="1"/>
          <p:nvPr/>
        </p:nvSpPr>
        <p:spPr>
          <a:xfrm>
            <a:off x="4843162" y="1800064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100667"/>
                <a:ext cx="11910465" cy="73285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𝑟𝑎𝑑𝑎𝑡𝑖𝑜𝑛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100667"/>
                <a:ext cx="11910465" cy="7328545"/>
              </a:xfrm>
              <a:prstGeom prst="rect">
                <a:avLst/>
              </a:prstGeom>
              <a:blipFill>
                <a:blip r:embed="rId3"/>
                <a:stretch>
                  <a:fillRect l="-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52624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A07D0DDE-0086-5467-5716-5C52781BBC73}"/>
              </a:ext>
            </a:extLst>
          </p:cNvPr>
          <p:cNvSpPr/>
          <p:nvPr/>
        </p:nvSpPr>
        <p:spPr>
          <a:xfrm rot="5400000">
            <a:off x="4217652" y="-246864"/>
            <a:ext cx="270662" cy="321346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3756B978-F25B-BC0E-E547-C7DD1D88D0EA}"/>
              </a:ext>
            </a:extLst>
          </p:cNvPr>
          <p:cNvSpPr txBox="1"/>
          <p:nvPr/>
        </p:nvSpPr>
        <p:spPr>
          <a:xfrm>
            <a:off x="2369247" y="1498802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4A1950AE-4711-3097-1C43-0F6BC488AF9D}"/>
              </a:ext>
            </a:extLst>
          </p:cNvPr>
          <p:cNvSpPr/>
          <p:nvPr/>
        </p:nvSpPr>
        <p:spPr>
          <a:xfrm rot="5400000">
            <a:off x="4300236" y="3931041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67C51D3E-2844-0A0C-8B92-B44E8C883898}"/>
              </a:ext>
            </a:extLst>
          </p:cNvPr>
          <p:cNvSpPr txBox="1"/>
          <p:nvPr/>
        </p:nvSpPr>
        <p:spPr>
          <a:xfrm>
            <a:off x="3814715" y="508179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B92DDAF3-3640-F3F8-7EED-231F28733BD1}"/>
              </a:ext>
            </a:extLst>
          </p:cNvPr>
          <p:cNvSpPr/>
          <p:nvPr/>
        </p:nvSpPr>
        <p:spPr>
          <a:xfrm rot="5400000">
            <a:off x="5606638" y="-2729407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20">
                <a:extLst>
                  <a:ext uri="{FF2B5EF4-FFF2-40B4-BE49-F238E27FC236}">
                    <a16:creationId xmlns:a16="http://schemas.microsoft.com/office/drawing/2014/main" id="{6C288585-8B07-D85B-C90F-A3318B098B73}"/>
                  </a:ext>
                </a:extLst>
              </p:cNvPr>
              <p:cNvSpPr txBox="1"/>
              <p:nvPr/>
            </p:nvSpPr>
            <p:spPr>
              <a:xfrm>
                <a:off x="2589498" y="2819575"/>
                <a:ext cx="8577945" cy="429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de-DE" i="1">
                        <a:highlight>
                          <a:srgbClr val="00FFFF"/>
                        </a:highlight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 with drug</a:t>
                </a:r>
              </a:p>
            </p:txBody>
          </p:sp>
        </mc:Choice>
        <mc:Fallback xmlns="">
          <p:sp>
            <p:nvSpPr>
              <p:cNvPr id="7" name="TextBox 20">
                <a:extLst>
                  <a:ext uri="{FF2B5EF4-FFF2-40B4-BE49-F238E27FC236}">
                    <a16:creationId xmlns:a16="http://schemas.microsoft.com/office/drawing/2014/main" id="{6C288585-8B07-D85B-C90F-A3318B098B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9498" y="2819575"/>
                <a:ext cx="8577945" cy="429220"/>
              </a:xfrm>
              <a:prstGeom prst="rect">
                <a:avLst/>
              </a:prstGeom>
              <a:blipFill>
                <a:blip r:embed="rId4"/>
                <a:stretch>
                  <a:fillRect l="-640" b="-2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16">
            <a:extLst>
              <a:ext uri="{FF2B5EF4-FFF2-40B4-BE49-F238E27FC236}">
                <a16:creationId xmlns:a16="http://schemas.microsoft.com/office/drawing/2014/main" id="{02FBC146-D61F-B266-C198-DB4AEFE73536}"/>
              </a:ext>
            </a:extLst>
          </p:cNvPr>
          <p:cNvSpPr/>
          <p:nvPr/>
        </p:nvSpPr>
        <p:spPr>
          <a:xfrm rot="5400000">
            <a:off x="5463015" y="-1298178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20">
                <a:extLst>
                  <a:ext uri="{FF2B5EF4-FFF2-40B4-BE49-F238E27FC236}">
                    <a16:creationId xmlns:a16="http://schemas.microsoft.com/office/drawing/2014/main" id="{41D0A180-E45F-C89E-A760-349A098378E4}"/>
                  </a:ext>
                </a:extLst>
              </p:cNvPr>
              <p:cNvSpPr txBox="1"/>
              <p:nvPr/>
            </p:nvSpPr>
            <p:spPr>
              <a:xfrm>
                <a:off x="3695950" y="4180632"/>
                <a:ext cx="5231129" cy="450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𝑡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r>
                  <a:rPr lang="en-US" dirty="0"/>
                  <a:t>with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𝐸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3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20">
                <a:extLst>
                  <a:ext uri="{FF2B5EF4-FFF2-40B4-BE49-F238E27FC236}">
                    <a16:creationId xmlns:a16="http://schemas.microsoft.com/office/drawing/2014/main" id="{41D0A180-E45F-C89E-A760-349A098378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5950" y="4180632"/>
                <a:ext cx="5231129" cy="450444"/>
              </a:xfrm>
              <a:prstGeom prst="rect">
                <a:avLst/>
              </a:prstGeom>
              <a:blipFill>
                <a:blip r:embed="rId5"/>
                <a:stretch>
                  <a:fillRect l="-932" b="-1351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ight Brace 10">
            <a:extLst>
              <a:ext uri="{FF2B5EF4-FFF2-40B4-BE49-F238E27FC236}">
                <a16:creationId xmlns:a16="http://schemas.microsoft.com/office/drawing/2014/main" id="{B5E1000A-9376-714D-7D28-ED8D62D8BEF2}"/>
              </a:ext>
            </a:extLst>
          </p:cNvPr>
          <p:cNvSpPr/>
          <p:nvPr/>
        </p:nvSpPr>
        <p:spPr>
          <a:xfrm rot="5400000">
            <a:off x="8010692" y="-717416"/>
            <a:ext cx="321997" cy="411044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21">
            <a:extLst>
              <a:ext uri="{FF2B5EF4-FFF2-40B4-BE49-F238E27FC236}">
                <a16:creationId xmlns:a16="http://schemas.microsoft.com/office/drawing/2014/main" id="{664E71A6-EDD7-4FA6-CF22-3DFADE371399}"/>
              </a:ext>
            </a:extLst>
          </p:cNvPr>
          <p:cNvSpPr txBox="1"/>
          <p:nvPr/>
        </p:nvSpPr>
        <p:spPr>
          <a:xfrm>
            <a:off x="6867503" y="1490076"/>
            <a:ext cx="3764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</a:t>
            </a:r>
          </a:p>
        </p:txBody>
      </p:sp>
      <p:sp>
        <p:nvSpPr>
          <p:cNvPr id="13" name="Right Brace 10">
            <a:extLst>
              <a:ext uri="{FF2B5EF4-FFF2-40B4-BE49-F238E27FC236}">
                <a16:creationId xmlns:a16="http://schemas.microsoft.com/office/drawing/2014/main" id="{C46B3DBF-928A-0573-302A-AEF0C17F1E7F}"/>
              </a:ext>
            </a:extLst>
          </p:cNvPr>
          <p:cNvSpPr/>
          <p:nvPr/>
        </p:nvSpPr>
        <p:spPr>
          <a:xfrm rot="5400000">
            <a:off x="1268613" y="3733495"/>
            <a:ext cx="321997" cy="263327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21">
                <a:extLst>
                  <a:ext uri="{FF2B5EF4-FFF2-40B4-BE49-F238E27FC236}">
                    <a16:creationId xmlns:a16="http://schemas.microsoft.com/office/drawing/2014/main" id="{345AFFE4-45DF-5A74-801A-E3882FE5BED8}"/>
                  </a:ext>
                </a:extLst>
              </p:cNvPr>
              <p:cNvSpPr txBox="1"/>
              <p:nvPr/>
            </p:nvSpPr>
            <p:spPr>
              <a:xfrm>
                <a:off x="86789" y="5041243"/>
                <a:ext cx="3792139" cy="450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rom unbinding from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𝑑𝑡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21">
                <a:extLst>
                  <a:ext uri="{FF2B5EF4-FFF2-40B4-BE49-F238E27FC236}">
                    <a16:creationId xmlns:a16="http://schemas.microsoft.com/office/drawing/2014/main" id="{345AFFE4-45DF-5A74-801A-E3882FE5BE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89" y="5041243"/>
                <a:ext cx="3792139" cy="450444"/>
              </a:xfrm>
              <a:prstGeom prst="rect">
                <a:avLst/>
              </a:prstGeom>
              <a:blipFill>
                <a:blip r:embed="rId6"/>
                <a:stretch>
                  <a:fillRect l="-1286" b="-1351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Brace 32">
            <a:extLst>
              <a:ext uri="{FF2B5EF4-FFF2-40B4-BE49-F238E27FC236}">
                <a16:creationId xmlns:a16="http://schemas.microsoft.com/office/drawing/2014/main" id="{96F179F4-6D41-8183-5C95-BF5E118BE9B0}"/>
              </a:ext>
            </a:extLst>
          </p:cNvPr>
          <p:cNvSpPr/>
          <p:nvPr/>
        </p:nvSpPr>
        <p:spPr>
          <a:xfrm rot="5400000">
            <a:off x="2283907" y="4566719"/>
            <a:ext cx="238847" cy="5698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33">
            <a:extLst>
              <a:ext uri="{FF2B5EF4-FFF2-40B4-BE49-F238E27FC236}">
                <a16:creationId xmlns:a16="http://schemas.microsoft.com/office/drawing/2014/main" id="{DC40E99B-4585-D991-33C8-D7D6FCA6915F}"/>
              </a:ext>
            </a:extLst>
          </p:cNvPr>
          <p:cNvSpPr txBox="1"/>
          <p:nvPr/>
        </p:nvSpPr>
        <p:spPr>
          <a:xfrm>
            <a:off x="979381" y="7429011"/>
            <a:ext cx="3577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roduction up to steady state</a:t>
            </a:r>
          </a:p>
        </p:txBody>
      </p:sp>
      <p:sp>
        <p:nvSpPr>
          <p:cNvPr id="17" name="Right Brace 32">
            <a:extLst>
              <a:ext uri="{FF2B5EF4-FFF2-40B4-BE49-F238E27FC236}">
                <a16:creationId xmlns:a16="http://schemas.microsoft.com/office/drawing/2014/main" id="{F7E54393-2438-4A67-AEB3-24FE6964BB7D}"/>
              </a:ext>
            </a:extLst>
          </p:cNvPr>
          <p:cNvSpPr/>
          <p:nvPr/>
        </p:nvSpPr>
        <p:spPr>
          <a:xfrm rot="5400000">
            <a:off x="6465311" y="625387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33">
            <a:extLst>
              <a:ext uri="{FF2B5EF4-FFF2-40B4-BE49-F238E27FC236}">
                <a16:creationId xmlns:a16="http://schemas.microsoft.com/office/drawing/2014/main" id="{6F2B8C8D-2AF1-C8F0-7B7F-6D481153223C}"/>
              </a:ext>
            </a:extLst>
          </p:cNvPr>
          <p:cNvSpPr txBox="1"/>
          <p:nvPr/>
        </p:nvSpPr>
        <p:spPr>
          <a:xfrm>
            <a:off x="5979790" y="740462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20" name="Right Brace 28">
            <a:extLst>
              <a:ext uri="{FF2B5EF4-FFF2-40B4-BE49-F238E27FC236}">
                <a16:creationId xmlns:a16="http://schemas.microsoft.com/office/drawing/2014/main" id="{E5C0943A-28D4-92E1-66A2-ADCC1D4DC718}"/>
              </a:ext>
            </a:extLst>
          </p:cNvPr>
          <p:cNvSpPr/>
          <p:nvPr/>
        </p:nvSpPr>
        <p:spPr>
          <a:xfrm rot="5400000">
            <a:off x="7665228" y="366156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35">
                <a:extLst>
                  <a:ext uri="{FF2B5EF4-FFF2-40B4-BE49-F238E27FC236}">
                    <a16:creationId xmlns:a16="http://schemas.microsoft.com/office/drawing/2014/main" id="{DD090EC6-9C85-8FDA-2AD7-B88798F70B06}"/>
                  </a:ext>
                </a:extLst>
              </p:cNvPr>
              <p:cNvSpPr txBox="1"/>
              <p:nvPr/>
            </p:nvSpPr>
            <p:spPr>
              <a:xfrm>
                <a:off x="6116225" y="5065616"/>
                <a:ext cx="5042982" cy="429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rom unbinding from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35">
                <a:extLst>
                  <a:ext uri="{FF2B5EF4-FFF2-40B4-BE49-F238E27FC236}">
                    <a16:creationId xmlns:a16="http://schemas.microsoft.com/office/drawing/2014/main" id="{DD090EC6-9C85-8FDA-2AD7-B88798F70B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6225" y="5065616"/>
                <a:ext cx="5042982" cy="429220"/>
              </a:xfrm>
              <a:prstGeom prst="rect">
                <a:avLst/>
              </a:prstGeom>
              <a:blipFill>
                <a:blip r:embed="rId7"/>
                <a:stretch>
                  <a:fillRect l="-966" b="-2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ight Brace 25">
            <a:extLst>
              <a:ext uri="{FF2B5EF4-FFF2-40B4-BE49-F238E27FC236}">
                <a16:creationId xmlns:a16="http://schemas.microsoft.com/office/drawing/2014/main" id="{B89D9BD2-AA9D-EB6A-B87E-9FBE5BA9C9FE}"/>
              </a:ext>
            </a:extLst>
          </p:cNvPr>
          <p:cNvSpPr/>
          <p:nvPr/>
        </p:nvSpPr>
        <p:spPr>
          <a:xfrm rot="5400000">
            <a:off x="4908009" y="2021814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34">
                <a:extLst>
                  <a:ext uri="{FF2B5EF4-FFF2-40B4-BE49-F238E27FC236}">
                    <a16:creationId xmlns:a16="http://schemas.microsoft.com/office/drawing/2014/main" id="{5DCB49DA-8059-F6FF-0087-CE964CF94FF6}"/>
                  </a:ext>
                </a:extLst>
              </p:cNvPr>
              <p:cNvSpPr txBox="1"/>
              <p:nvPr/>
            </p:nvSpPr>
            <p:spPr>
              <a:xfrm>
                <a:off x="2421500" y="6390111"/>
                <a:ext cx="7032492" cy="4618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r>
                  <a:rPr lang="en-US" dirty="0"/>
                  <a:t> with</a:t>
                </a:r>
                <a14:m>
                  <m:oMath xmlns:m="http://schemas.openxmlformats.org/officeDocument/2006/math">
                    <m:r>
                      <a:rPr lang="de-DE" b="0" i="0" smtClean="0">
                        <a:highlight>
                          <a:srgbClr val="00FFFF"/>
                        </a:highlight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3" name="TextBox 34">
                <a:extLst>
                  <a:ext uri="{FF2B5EF4-FFF2-40B4-BE49-F238E27FC236}">
                    <a16:creationId xmlns:a16="http://schemas.microsoft.com/office/drawing/2014/main" id="{5DCB49DA-8059-F6FF-0087-CE964CF94F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1500" y="6390111"/>
                <a:ext cx="7032492" cy="461858"/>
              </a:xfrm>
              <a:prstGeom prst="rect">
                <a:avLst/>
              </a:prstGeom>
              <a:blipFill>
                <a:blip r:embed="rId8"/>
                <a:stretch>
                  <a:fillRect l="-693" b="-1052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6467220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70373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trike="sngStrike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 strike="sngStrike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 strike="sngStrike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trike="sngStrike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trike="sngStrike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trike="sngStrike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  <m:r>
                        <a:rPr lang="en-US" i="1" strike="sngStrike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 strike="sngStrike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d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703731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545796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 molecules in cytosol on a single cel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CE9973F-4FE8-AD7B-3512-4FE924A5B86C}"/>
              </a:ext>
            </a:extLst>
          </p:cNvPr>
          <p:cNvSpPr txBox="1"/>
          <p:nvPr/>
        </p:nvSpPr>
        <p:spPr>
          <a:xfrm>
            <a:off x="4074060" y="1874067"/>
            <a:ext cx="22769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FF0000"/>
                </a:solidFill>
              </a:rPr>
              <a:t>Als Konstante!</a:t>
            </a:r>
          </a:p>
        </p:txBody>
      </p:sp>
    </p:spTree>
    <p:extLst>
      <p:ext uri="{BB962C8B-B14F-4D97-AF65-F5344CB8AC3E}">
        <p14:creationId xmlns:p14="http://schemas.microsoft.com/office/powerpoint/2010/main" val="142821416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2134550" cy="57567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2134550" cy="5756704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62335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-bound drug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394371FD-F53A-FB01-3CDB-7424DA365235}"/>
              </a:ext>
            </a:extLst>
          </p:cNvPr>
          <p:cNvSpPr/>
          <p:nvPr/>
        </p:nvSpPr>
        <p:spPr>
          <a:xfrm rot="5400000">
            <a:off x="3579637" y="-17892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1112EA44-8F55-1795-D721-A7892FA45D8D}"/>
              </a:ext>
            </a:extLst>
          </p:cNvPr>
          <p:cNvSpPr txBox="1"/>
          <p:nvPr/>
        </p:nvSpPr>
        <p:spPr>
          <a:xfrm>
            <a:off x="1932292" y="1526714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16">
            <a:extLst>
              <a:ext uri="{FF2B5EF4-FFF2-40B4-BE49-F238E27FC236}">
                <a16:creationId xmlns:a16="http://schemas.microsoft.com/office/drawing/2014/main" id="{957F99D2-F994-ECA9-3408-6AD06D23C5FE}"/>
              </a:ext>
            </a:extLst>
          </p:cNvPr>
          <p:cNvSpPr/>
          <p:nvPr/>
        </p:nvSpPr>
        <p:spPr>
          <a:xfrm rot="5400000">
            <a:off x="6062814" y="-193055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214BB7FE-4813-7E2D-CF21-5B44AB4CC6E7}"/>
              </a:ext>
            </a:extLst>
          </p:cNvPr>
          <p:cNvSpPr txBox="1"/>
          <p:nvPr/>
        </p:nvSpPr>
        <p:spPr>
          <a:xfrm>
            <a:off x="4765592" y="4777289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4294B57C-0076-C222-1136-A2D329E714F0}"/>
              </a:ext>
            </a:extLst>
          </p:cNvPr>
          <p:cNvSpPr/>
          <p:nvPr/>
        </p:nvSpPr>
        <p:spPr>
          <a:xfrm rot="5400000">
            <a:off x="2539016" y="4234141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15436C98-3CFF-6017-EF68-1A13AD5B897E}"/>
              </a:ext>
            </a:extLst>
          </p:cNvPr>
          <p:cNvSpPr txBox="1"/>
          <p:nvPr/>
        </p:nvSpPr>
        <p:spPr>
          <a:xfrm>
            <a:off x="1516488" y="5820120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C1A80BE7-A44B-D15F-8692-B3EF1D1E2763}"/>
              </a:ext>
            </a:extLst>
          </p:cNvPr>
          <p:cNvSpPr/>
          <p:nvPr/>
        </p:nvSpPr>
        <p:spPr>
          <a:xfrm rot="5400000">
            <a:off x="6054856" y="-2338783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710AC9BF-03B9-0BF0-C5BC-8D4C2ADA2CC1}"/>
              </a:ext>
            </a:extLst>
          </p:cNvPr>
          <p:cNvSpPr txBox="1"/>
          <p:nvPr/>
        </p:nvSpPr>
        <p:spPr>
          <a:xfrm>
            <a:off x="4765592" y="3219836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11" name="Right Brace 28">
            <a:extLst>
              <a:ext uri="{FF2B5EF4-FFF2-40B4-BE49-F238E27FC236}">
                <a16:creationId xmlns:a16="http://schemas.microsoft.com/office/drawing/2014/main" id="{BA39B99E-A621-F481-9FFA-09F18ABFCB36}"/>
              </a:ext>
            </a:extLst>
          </p:cNvPr>
          <p:cNvSpPr/>
          <p:nvPr/>
        </p:nvSpPr>
        <p:spPr>
          <a:xfrm rot="5400000">
            <a:off x="6612638" y="-5241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35">
            <a:extLst>
              <a:ext uri="{FF2B5EF4-FFF2-40B4-BE49-F238E27FC236}">
                <a16:creationId xmlns:a16="http://schemas.microsoft.com/office/drawing/2014/main" id="{DAFA8EF4-84DE-BCBD-5EFB-9E2B587A095D}"/>
              </a:ext>
            </a:extLst>
          </p:cNvPr>
          <p:cNvSpPr txBox="1"/>
          <p:nvPr/>
        </p:nvSpPr>
        <p:spPr>
          <a:xfrm>
            <a:off x="5269114" y="143973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78597011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776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7761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DF8EAC95-773B-6DB0-4CA6-69C439BE9166}"/>
              </a:ext>
            </a:extLst>
          </p:cNvPr>
          <p:cNvSpPr/>
          <p:nvPr/>
        </p:nvSpPr>
        <p:spPr>
          <a:xfrm rot="5400000">
            <a:off x="6024003" y="40053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7E34500A-A12E-441C-E2FD-1E7D0D316189}"/>
              </a:ext>
            </a:extLst>
          </p:cNvPr>
          <p:cNvSpPr txBox="1"/>
          <p:nvPr/>
        </p:nvSpPr>
        <p:spPr>
          <a:xfrm>
            <a:off x="4376658" y="1584659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28">
            <a:extLst>
              <a:ext uri="{FF2B5EF4-FFF2-40B4-BE49-F238E27FC236}">
                <a16:creationId xmlns:a16="http://schemas.microsoft.com/office/drawing/2014/main" id="{F63FF1AD-A06F-43B6-F37E-439673AA97FB}"/>
              </a:ext>
            </a:extLst>
          </p:cNvPr>
          <p:cNvSpPr/>
          <p:nvPr/>
        </p:nvSpPr>
        <p:spPr>
          <a:xfrm rot="5400000">
            <a:off x="2014512" y="428617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5">
            <a:extLst>
              <a:ext uri="{FF2B5EF4-FFF2-40B4-BE49-F238E27FC236}">
                <a16:creationId xmlns:a16="http://schemas.microsoft.com/office/drawing/2014/main" id="{E96D405E-F617-34EB-6386-55B0DB654C1B}"/>
              </a:ext>
            </a:extLst>
          </p:cNvPr>
          <p:cNvSpPr txBox="1"/>
          <p:nvPr/>
        </p:nvSpPr>
        <p:spPr>
          <a:xfrm>
            <a:off x="670988" y="577833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E10554E8-99B6-E0C2-5CDC-0811EE0C59F9}"/>
              </a:ext>
            </a:extLst>
          </p:cNvPr>
          <p:cNvSpPr/>
          <p:nvPr/>
        </p:nvSpPr>
        <p:spPr>
          <a:xfrm rot="5400000">
            <a:off x="5723930" y="-796961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C93DC40B-B49D-3B88-EF62-700BD7F35CC2}"/>
              </a:ext>
            </a:extLst>
          </p:cNvPr>
          <p:cNvSpPr txBox="1"/>
          <p:nvPr/>
        </p:nvSpPr>
        <p:spPr>
          <a:xfrm>
            <a:off x="4434666" y="4761658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97B7B0F7-0A3B-5241-30BA-F0CA4AAEA203}"/>
              </a:ext>
            </a:extLst>
          </p:cNvPr>
          <p:cNvSpPr/>
          <p:nvPr/>
        </p:nvSpPr>
        <p:spPr>
          <a:xfrm rot="5400000">
            <a:off x="5461922" y="-1956149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B7893AF4-0629-9545-21C3-E10422B57C73}"/>
              </a:ext>
            </a:extLst>
          </p:cNvPr>
          <p:cNvSpPr txBox="1"/>
          <p:nvPr/>
        </p:nvSpPr>
        <p:spPr>
          <a:xfrm>
            <a:off x="4164700" y="3014195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FCD48AD5-0EF5-1DC7-D19C-FD056327A245}"/>
              </a:ext>
            </a:extLst>
          </p:cNvPr>
          <p:cNvSpPr/>
          <p:nvPr/>
        </p:nvSpPr>
        <p:spPr>
          <a:xfrm rot="5400000">
            <a:off x="9585388" y="-47237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21">
            <a:extLst>
              <a:ext uri="{FF2B5EF4-FFF2-40B4-BE49-F238E27FC236}">
                <a16:creationId xmlns:a16="http://schemas.microsoft.com/office/drawing/2014/main" id="{7154130A-153B-1875-92B4-DFB1A3DCCD29}"/>
              </a:ext>
            </a:extLst>
          </p:cNvPr>
          <p:cNvSpPr txBox="1"/>
          <p:nvPr/>
        </p:nvSpPr>
        <p:spPr>
          <a:xfrm>
            <a:off x="8321404" y="1538742"/>
            <a:ext cx="3264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221812710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5412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5412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2" name="Right Brace 28">
            <a:extLst>
              <a:ext uri="{FF2B5EF4-FFF2-40B4-BE49-F238E27FC236}">
                <a16:creationId xmlns:a16="http://schemas.microsoft.com/office/drawing/2014/main" id="{6679186C-C2B2-152E-34D2-8EB5DF370662}"/>
              </a:ext>
            </a:extLst>
          </p:cNvPr>
          <p:cNvSpPr/>
          <p:nvPr/>
        </p:nvSpPr>
        <p:spPr>
          <a:xfrm rot="5400000">
            <a:off x="5410857" y="14960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5">
            <a:extLst>
              <a:ext uri="{FF2B5EF4-FFF2-40B4-BE49-F238E27FC236}">
                <a16:creationId xmlns:a16="http://schemas.microsoft.com/office/drawing/2014/main" id="{D2A84C06-575A-7DC4-7FCA-F8EE5A6205DF}"/>
              </a:ext>
            </a:extLst>
          </p:cNvPr>
          <p:cNvSpPr txBox="1"/>
          <p:nvPr/>
        </p:nvSpPr>
        <p:spPr>
          <a:xfrm>
            <a:off x="4067333" y="164176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4" name="Right Brace 24">
            <a:extLst>
              <a:ext uri="{FF2B5EF4-FFF2-40B4-BE49-F238E27FC236}">
                <a16:creationId xmlns:a16="http://schemas.microsoft.com/office/drawing/2014/main" id="{A00BAF67-43E2-3E5B-47C6-108ACE85065A}"/>
              </a:ext>
            </a:extLst>
          </p:cNvPr>
          <p:cNvSpPr/>
          <p:nvPr/>
        </p:nvSpPr>
        <p:spPr>
          <a:xfrm rot="5400000">
            <a:off x="9643995" y="281822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6">
            <a:extLst>
              <a:ext uri="{FF2B5EF4-FFF2-40B4-BE49-F238E27FC236}">
                <a16:creationId xmlns:a16="http://schemas.microsoft.com/office/drawing/2014/main" id="{5B5028FF-8050-CA22-9FD5-1F56EED64B9D}"/>
              </a:ext>
            </a:extLst>
          </p:cNvPr>
          <p:cNvSpPr txBox="1"/>
          <p:nvPr/>
        </p:nvSpPr>
        <p:spPr>
          <a:xfrm>
            <a:off x="7996650" y="1826428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CC6DF4B1-A0EF-7317-904A-CFF3DF04DEE6}"/>
              </a:ext>
            </a:extLst>
          </p:cNvPr>
          <p:cNvSpPr/>
          <p:nvPr/>
        </p:nvSpPr>
        <p:spPr>
          <a:xfrm rot="5400000">
            <a:off x="5936417" y="-1540491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0CD5FF3F-2017-D5EA-21FD-C394106DE514}"/>
              </a:ext>
            </a:extLst>
          </p:cNvPr>
          <p:cNvSpPr txBox="1"/>
          <p:nvPr/>
        </p:nvSpPr>
        <p:spPr>
          <a:xfrm>
            <a:off x="4647153" y="4018128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</p:spTree>
    <p:extLst>
      <p:ext uri="{BB962C8B-B14F-4D97-AF65-F5344CB8AC3E}">
        <p14:creationId xmlns:p14="http://schemas.microsoft.com/office/powerpoint/2010/main" val="374364287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043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0438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3429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-bound Metabolite1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DF2CD14D-16B6-8692-550B-04C8984DEF71}"/>
              </a:ext>
            </a:extLst>
          </p:cNvPr>
          <p:cNvSpPr/>
          <p:nvPr/>
        </p:nvSpPr>
        <p:spPr>
          <a:xfrm rot="5400000">
            <a:off x="8738304" y="203445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A72CAB37-ECED-E880-FE09-DF49E63C79F6}"/>
              </a:ext>
            </a:extLst>
          </p:cNvPr>
          <p:cNvSpPr txBox="1"/>
          <p:nvPr/>
        </p:nvSpPr>
        <p:spPr>
          <a:xfrm>
            <a:off x="7090959" y="1748051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16">
            <a:extLst>
              <a:ext uri="{FF2B5EF4-FFF2-40B4-BE49-F238E27FC236}">
                <a16:creationId xmlns:a16="http://schemas.microsoft.com/office/drawing/2014/main" id="{C89642A4-8D9B-A43F-A6B1-86E9F06A7DCC}"/>
              </a:ext>
            </a:extLst>
          </p:cNvPr>
          <p:cNvSpPr/>
          <p:nvPr/>
        </p:nvSpPr>
        <p:spPr>
          <a:xfrm rot="5400000">
            <a:off x="5901482" y="-1541344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BF231F9B-992E-28EA-BDF4-5A893A84CE7D}"/>
              </a:ext>
            </a:extLst>
          </p:cNvPr>
          <p:cNvSpPr txBox="1"/>
          <p:nvPr/>
        </p:nvSpPr>
        <p:spPr>
          <a:xfrm>
            <a:off x="4604260" y="3429000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6520E3AE-1F95-7AAC-16FC-3CDD435F0EF3}"/>
              </a:ext>
            </a:extLst>
          </p:cNvPr>
          <p:cNvSpPr/>
          <p:nvPr/>
        </p:nvSpPr>
        <p:spPr>
          <a:xfrm rot="5400000">
            <a:off x="5351885" y="158020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EB1F486B-FFDB-7F2A-27D7-1B2B546AEA86}"/>
              </a:ext>
            </a:extLst>
          </p:cNvPr>
          <p:cNvSpPr txBox="1"/>
          <p:nvPr/>
        </p:nvSpPr>
        <p:spPr>
          <a:xfrm>
            <a:off x="4329357" y="1743999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132639293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669935" y="266882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796744" y="1034314"/>
                <a:ext cx="4451832" cy="14659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𝑑𝑡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sup>
                              </m:sSubSup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6744" y="1034314"/>
                <a:ext cx="4451832" cy="146591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10">
                <a:extLst>
                  <a:ext uri="{FF2B5EF4-FFF2-40B4-BE49-F238E27FC236}">
                    <a16:creationId xmlns:a16="http://schemas.microsoft.com/office/drawing/2014/main" id="{90CFD11A-FFD3-29A9-57DE-051D5CEF6CEE}"/>
                  </a:ext>
                </a:extLst>
              </p:cNvPr>
              <p:cNvSpPr txBox="1"/>
              <p:nvPr/>
            </p:nvSpPr>
            <p:spPr>
              <a:xfrm>
                <a:off x="7796744" y="2891859"/>
                <a:ext cx="4451832" cy="14659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𝑑𝑡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sup>
                              </m:sSubSup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TextBox 10">
                <a:extLst>
                  <a:ext uri="{FF2B5EF4-FFF2-40B4-BE49-F238E27FC236}">
                    <a16:creationId xmlns:a16="http://schemas.microsoft.com/office/drawing/2014/main" id="{90CFD11A-FFD3-29A9-57DE-051D5CEF6C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6744" y="2891859"/>
                <a:ext cx="4451832" cy="146591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441402" cy="51078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fi-FI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br>
                  <a:rPr lang="de-DE" i="1" dirty="0">
                    <a:latin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441402" cy="510780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19524" y="62961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82688" y="3244334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23164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of free ADC (nmol/kg) (bound to 0 </a:t>
            </a:r>
            <a:r>
              <a:rPr lang="en-US" dirty="0" err="1"/>
              <a:t>Protacs</a:t>
            </a:r>
            <a:r>
              <a:rPr lang="en-US" dirty="0"/>
              <a:t>) in central compart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475E6343-BAB7-9446-0E61-323981135C12}"/>
              </a:ext>
            </a:extLst>
          </p:cNvPr>
          <p:cNvSpPr/>
          <p:nvPr/>
        </p:nvSpPr>
        <p:spPr>
          <a:xfrm rot="5400000">
            <a:off x="2319911" y="327300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141BD896-0FEA-0936-A2E9-11FEBD6DCFED}"/>
              </a:ext>
            </a:extLst>
          </p:cNvPr>
          <p:cNvSpPr txBox="1"/>
          <p:nvPr/>
        </p:nvSpPr>
        <p:spPr>
          <a:xfrm>
            <a:off x="1189469" y="483765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46B16480-4F3A-E96B-2509-E0E964568DA8}"/>
              </a:ext>
            </a:extLst>
          </p:cNvPr>
          <p:cNvSpPr/>
          <p:nvPr/>
        </p:nvSpPr>
        <p:spPr>
          <a:xfrm rot="5400000">
            <a:off x="4920435" y="36910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11C5166C-9872-9DDE-4E6E-1EF4F70A8037}"/>
              </a:ext>
            </a:extLst>
          </p:cNvPr>
          <p:cNvSpPr txBox="1"/>
          <p:nvPr/>
        </p:nvSpPr>
        <p:spPr>
          <a:xfrm>
            <a:off x="3986267" y="484272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F1EF89A3-5E9E-48CA-6B4C-42DF8150D86D}"/>
              </a:ext>
            </a:extLst>
          </p:cNvPr>
          <p:cNvSpPr/>
          <p:nvPr/>
        </p:nvSpPr>
        <p:spPr>
          <a:xfrm rot="5400000">
            <a:off x="7951514" y="3342531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E7A6031D-5C4F-9DEA-989C-9FE9CA5AC3A8}"/>
              </a:ext>
            </a:extLst>
          </p:cNvPr>
          <p:cNvSpPr txBox="1"/>
          <p:nvPr/>
        </p:nvSpPr>
        <p:spPr>
          <a:xfrm>
            <a:off x="6821072" y="49071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31" name="Right Brace 11">
            <a:extLst>
              <a:ext uri="{FF2B5EF4-FFF2-40B4-BE49-F238E27FC236}">
                <a16:creationId xmlns:a16="http://schemas.microsoft.com/office/drawing/2014/main" id="{E03AC6D9-7BF9-32BA-51BD-A5B3698AC9A7}"/>
              </a:ext>
            </a:extLst>
          </p:cNvPr>
          <p:cNvSpPr/>
          <p:nvPr/>
        </p:nvSpPr>
        <p:spPr>
          <a:xfrm rot="5400000">
            <a:off x="10552038" y="376061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FD038145-87D5-9567-F57C-773173C105BC}"/>
              </a:ext>
            </a:extLst>
          </p:cNvPr>
          <p:cNvSpPr txBox="1"/>
          <p:nvPr/>
        </p:nvSpPr>
        <p:spPr>
          <a:xfrm>
            <a:off x="9617870" y="49122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274182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56</Words>
  <Application>Microsoft Office PowerPoint</Application>
  <PresentationFormat>Breitbild</PresentationFormat>
  <Paragraphs>1769</Paragraphs>
  <Slides>88</Slides>
  <Notes>8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8</vt:i4>
      </vt:variant>
    </vt:vector>
  </HeadingPairs>
  <TitlesOfParts>
    <vt:vector size="94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PowerPoint-Präsentation</vt:lpstr>
      <vt:lpstr>Metabolites</vt:lpstr>
      <vt:lpstr>PowerPoint-Präsentation</vt:lpstr>
      <vt:lpstr>PowerPoint-Präsentation</vt:lpstr>
      <vt:lpstr>PowerPoint-Präsentation</vt:lpstr>
      <vt:lpstr>Protac Mo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329</cp:revision>
  <dcterms:created xsi:type="dcterms:W3CDTF">2020-06-25T13:54:39Z</dcterms:created>
  <dcterms:modified xsi:type="dcterms:W3CDTF">2024-10-16T16:07:33Z</dcterms:modified>
</cp:coreProperties>
</file>